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7" r:id="rId1"/>
  </p:sldMasterIdLst>
  <p:notesMasterIdLst>
    <p:notesMasterId r:id="rId4"/>
  </p:notesMasterIdLst>
  <p:sldIdLst>
    <p:sldId id="389" r:id="rId2"/>
    <p:sldId id="390" r:id="rId3"/>
  </p:sldIdLst>
  <p:sldSz cx="9906000" cy="6858000" type="A4"/>
  <p:notesSz cx="6797675" cy="9928225"/>
  <p:custDataLst>
    <p:tags r:id="rId5"/>
  </p:custDataLst>
  <p:defaultTextStyle>
    <a:defPPr>
      <a:defRPr lang="ru-RU"/>
    </a:defPPr>
    <a:lvl1pPr marL="0" algn="l" defTabSz="1278478" rtl="0" eaLnBrk="1" latinLnBrk="0" hangingPunct="1">
      <a:defRPr sz="2529" kern="1200">
        <a:solidFill>
          <a:schemeClr val="tx1"/>
        </a:solidFill>
        <a:latin typeface="+mn-lt"/>
        <a:ea typeface="+mn-ea"/>
        <a:cs typeface="+mn-cs"/>
      </a:defRPr>
    </a:lvl1pPr>
    <a:lvl2pPr marL="639240" algn="l" defTabSz="1278478" rtl="0" eaLnBrk="1" latinLnBrk="0" hangingPunct="1">
      <a:defRPr sz="2529" kern="1200">
        <a:solidFill>
          <a:schemeClr val="tx1"/>
        </a:solidFill>
        <a:latin typeface="+mn-lt"/>
        <a:ea typeface="+mn-ea"/>
        <a:cs typeface="+mn-cs"/>
      </a:defRPr>
    </a:lvl2pPr>
    <a:lvl3pPr marL="1278478" algn="l" defTabSz="1278478" rtl="0" eaLnBrk="1" latinLnBrk="0" hangingPunct="1">
      <a:defRPr sz="2529" kern="1200">
        <a:solidFill>
          <a:schemeClr val="tx1"/>
        </a:solidFill>
        <a:latin typeface="+mn-lt"/>
        <a:ea typeface="+mn-ea"/>
        <a:cs typeface="+mn-cs"/>
      </a:defRPr>
    </a:lvl3pPr>
    <a:lvl4pPr marL="1917716" algn="l" defTabSz="1278478" rtl="0" eaLnBrk="1" latinLnBrk="0" hangingPunct="1">
      <a:defRPr sz="2529" kern="1200">
        <a:solidFill>
          <a:schemeClr val="tx1"/>
        </a:solidFill>
        <a:latin typeface="+mn-lt"/>
        <a:ea typeface="+mn-ea"/>
        <a:cs typeface="+mn-cs"/>
      </a:defRPr>
    </a:lvl4pPr>
    <a:lvl5pPr marL="2556955" algn="l" defTabSz="1278478" rtl="0" eaLnBrk="1" latinLnBrk="0" hangingPunct="1">
      <a:defRPr sz="2529" kern="1200">
        <a:solidFill>
          <a:schemeClr val="tx1"/>
        </a:solidFill>
        <a:latin typeface="+mn-lt"/>
        <a:ea typeface="+mn-ea"/>
        <a:cs typeface="+mn-cs"/>
      </a:defRPr>
    </a:lvl5pPr>
    <a:lvl6pPr marL="3196196" algn="l" defTabSz="1278478" rtl="0" eaLnBrk="1" latinLnBrk="0" hangingPunct="1">
      <a:defRPr sz="2529" kern="1200">
        <a:solidFill>
          <a:schemeClr val="tx1"/>
        </a:solidFill>
        <a:latin typeface="+mn-lt"/>
        <a:ea typeface="+mn-ea"/>
        <a:cs typeface="+mn-cs"/>
      </a:defRPr>
    </a:lvl6pPr>
    <a:lvl7pPr marL="3835432" algn="l" defTabSz="1278478" rtl="0" eaLnBrk="1" latinLnBrk="0" hangingPunct="1">
      <a:defRPr sz="2529" kern="1200">
        <a:solidFill>
          <a:schemeClr val="tx1"/>
        </a:solidFill>
        <a:latin typeface="+mn-lt"/>
        <a:ea typeface="+mn-ea"/>
        <a:cs typeface="+mn-cs"/>
      </a:defRPr>
    </a:lvl7pPr>
    <a:lvl8pPr marL="4474672" algn="l" defTabSz="1278478" rtl="0" eaLnBrk="1" latinLnBrk="0" hangingPunct="1">
      <a:defRPr sz="2529" kern="1200">
        <a:solidFill>
          <a:schemeClr val="tx1"/>
        </a:solidFill>
        <a:latin typeface="+mn-lt"/>
        <a:ea typeface="+mn-ea"/>
        <a:cs typeface="+mn-cs"/>
      </a:defRPr>
    </a:lvl8pPr>
    <a:lvl9pPr marL="5113911" algn="l" defTabSz="1278478" rtl="0" eaLnBrk="1" latinLnBrk="0" hangingPunct="1">
      <a:defRPr sz="2529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01" userDrawn="1">
          <p15:clr>
            <a:srgbClr val="A4A3A4"/>
          </p15:clr>
        </p15:guide>
        <p15:guide id="2" pos="1260" userDrawn="1">
          <p15:clr>
            <a:srgbClr val="A4A3A4"/>
          </p15:clr>
        </p15:guide>
        <p15:guide id="3" pos="33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78CEB6C-7532-32DB-A145-09FD7AD663E0}" name="Paul Miles" initials="PM" userId="e85d565d124ddbd8" providerId="Windows Liv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6F6F6"/>
    <a:srgbClr val="CCFF33"/>
    <a:srgbClr val="E7E7E7"/>
    <a:srgbClr val="3BAD82"/>
    <a:srgbClr val="355AE4"/>
    <a:srgbClr val="FFAA1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C6105B1-D2B9-41E6-8C94-951D0A2C0451}" v="40" dt="2022-08-09T15:50:56.85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A488322-F2BA-4B5B-9748-0D474271808F}" styleName="Средний стиль 3 — акцент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C083E6E3-FA7D-4D7B-A595-EF9225AFEA82}" styleName="Светлый стиль 1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444" autoAdjust="0"/>
  </p:normalViewPr>
  <p:slideViewPr>
    <p:cSldViewPr>
      <p:cViewPr varScale="1">
        <p:scale>
          <a:sx n="115" d="100"/>
          <a:sy n="115" d="100"/>
        </p:scale>
        <p:origin x="1284" y="108"/>
      </p:cViewPr>
      <p:guideLst>
        <p:guide orient="horz" pos="4201"/>
        <p:guide pos="1260"/>
        <p:guide pos="339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67" d="100"/>
          <a:sy n="67" d="100"/>
        </p:scale>
        <p:origin x="-3168" y="-77"/>
      </p:cViewPr>
      <p:guideLst>
        <p:guide orient="horz" pos="3128"/>
        <p:guide pos="2141"/>
      </p:guideLst>
    </p:cSldViewPr>
  </p:notesViewPr>
  <p:gridSpacing cx="72010" cy="7201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11" Type="http://schemas.microsoft.com/office/2015/10/relationships/revisionInfo" Target="revisionInfo.xml"/><Relationship Id="rId5" Type="http://schemas.openxmlformats.org/officeDocument/2006/relationships/tags" Target="tags/tag1.xml"/><Relationship Id="rId10" Type="http://schemas.microsoft.com/office/2018/10/relationships/authors" Target="authors.xml"/><Relationship Id="rId4" Type="http://schemas.openxmlformats.org/officeDocument/2006/relationships/notesMaster" Target="notesMasters/notes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2945659" cy="496411"/>
          </a:xfrm>
          <a:prstGeom prst="rect">
            <a:avLst/>
          </a:prstGeom>
        </p:spPr>
        <p:txBody>
          <a:bodyPr vert="horz" lIns="92965" tIns="46482" rIns="92965" bIns="46482" rtlCol="0"/>
          <a:lstStyle>
            <a:lvl1pPr algn="l">
              <a:defRPr sz="13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2"/>
            <a:ext cx="2945659" cy="496411"/>
          </a:xfrm>
          <a:prstGeom prst="rect">
            <a:avLst/>
          </a:prstGeom>
        </p:spPr>
        <p:txBody>
          <a:bodyPr vert="horz" lIns="92965" tIns="46482" rIns="92965" bIns="46482" rtlCol="0"/>
          <a:lstStyle>
            <a:lvl1pPr algn="r">
              <a:defRPr sz="1300"/>
            </a:lvl1pPr>
          </a:lstStyle>
          <a:p>
            <a:fld id="{E6D43047-6575-4BE6-A699-8F0CBF34195F}" type="datetimeFigureOut">
              <a:rPr lang="ru-RU" smtClean="0"/>
              <a:t>06.12.2022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709613" y="744538"/>
            <a:ext cx="537845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965" tIns="46482" rIns="92965" bIns="46482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2965" tIns="46482" rIns="92965" bIns="46482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30092"/>
            <a:ext cx="2945659" cy="496411"/>
          </a:xfrm>
          <a:prstGeom prst="rect">
            <a:avLst/>
          </a:prstGeom>
        </p:spPr>
        <p:txBody>
          <a:bodyPr vert="horz" lIns="92965" tIns="46482" rIns="92965" bIns="46482" rtlCol="0" anchor="b"/>
          <a:lstStyle>
            <a:lvl1pPr algn="l">
              <a:defRPr sz="13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2"/>
            <a:ext cx="2945659" cy="496411"/>
          </a:xfrm>
          <a:prstGeom prst="rect">
            <a:avLst/>
          </a:prstGeom>
        </p:spPr>
        <p:txBody>
          <a:bodyPr vert="horz" lIns="92965" tIns="46482" rIns="92965" bIns="46482" rtlCol="0" anchor="b"/>
          <a:lstStyle>
            <a:lvl1pPr algn="r">
              <a:defRPr sz="1300"/>
            </a:lvl1pPr>
          </a:lstStyle>
          <a:p>
            <a:fld id="{5BE73E3D-4255-4BEF-81C8-40FFDC603DE8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553523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78478" rtl="0" eaLnBrk="1" latinLnBrk="0" hangingPunct="1">
      <a:defRPr sz="1686" kern="1200">
        <a:solidFill>
          <a:schemeClr val="tx1"/>
        </a:solidFill>
        <a:latin typeface="+mn-lt"/>
        <a:ea typeface="+mn-ea"/>
        <a:cs typeface="+mn-cs"/>
      </a:defRPr>
    </a:lvl1pPr>
    <a:lvl2pPr marL="639240" algn="l" defTabSz="1278478" rtl="0" eaLnBrk="1" latinLnBrk="0" hangingPunct="1">
      <a:defRPr sz="1686" kern="1200">
        <a:solidFill>
          <a:schemeClr val="tx1"/>
        </a:solidFill>
        <a:latin typeface="+mn-lt"/>
        <a:ea typeface="+mn-ea"/>
        <a:cs typeface="+mn-cs"/>
      </a:defRPr>
    </a:lvl2pPr>
    <a:lvl3pPr marL="1278478" algn="l" defTabSz="1278478" rtl="0" eaLnBrk="1" latinLnBrk="0" hangingPunct="1">
      <a:defRPr sz="1686" kern="1200">
        <a:solidFill>
          <a:schemeClr val="tx1"/>
        </a:solidFill>
        <a:latin typeface="+mn-lt"/>
        <a:ea typeface="+mn-ea"/>
        <a:cs typeface="+mn-cs"/>
      </a:defRPr>
    </a:lvl3pPr>
    <a:lvl4pPr marL="1917716" algn="l" defTabSz="1278478" rtl="0" eaLnBrk="1" latinLnBrk="0" hangingPunct="1">
      <a:defRPr sz="1686" kern="1200">
        <a:solidFill>
          <a:schemeClr val="tx1"/>
        </a:solidFill>
        <a:latin typeface="+mn-lt"/>
        <a:ea typeface="+mn-ea"/>
        <a:cs typeface="+mn-cs"/>
      </a:defRPr>
    </a:lvl4pPr>
    <a:lvl5pPr marL="2556955" algn="l" defTabSz="1278478" rtl="0" eaLnBrk="1" latinLnBrk="0" hangingPunct="1">
      <a:defRPr sz="1686" kern="1200">
        <a:solidFill>
          <a:schemeClr val="tx1"/>
        </a:solidFill>
        <a:latin typeface="+mn-lt"/>
        <a:ea typeface="+mn-ea"/>
        <a:cs typeface="+mn-cs"/>
      </a:defRPr>
    </a:lvl5pPr>
    <a:lvl6pPr marL="3196196" algn="l" defTabSz="1278478" rtl="0" eaLnBrk="1" latinLnBrk="0" hangingPunct="1">
      <a:defRPr sz="1686" kern="1200">
        <a:solidFill>
          <a:schemeClr val="tx1"/>
        </a:solidFill>
        <a:latin typeface="+mn-lt"/>
        <a:ea typeface="+mn-ea"/>
        <a:cs typeface="+mn-cs"/>
      </a:defRPr>
    </a:lvl6pPr>
    <a:lvl7pPr marL="3835432" algn="l" defTabSz="1278478" rtl="0" eaLnBrk="1" latinLnBrk="0" hangingPunct="1">
      <a:defRPr sz="1686" kern="1200">
        <a:solidFill>
          <a:schemeClr val="tx1"/>
        </a:solidFill>
        <a:latin typeface="+mn-lt"/>
        <a:ea typeface="+mn-ea"/>
        <a:cs typeface="+mn-cs"/>
      </a:defRPr>
    </a:lvl7pPr>
    <a:lvl8pPr marL="4474672" algn="l" defTabSz="1278478" rtl="0" eaLnBrk="1" latinLnBrk="0" hangingPunct="1">
      <a:defRPr sz="1686" kern="1200">
        <a:solidFill>
          <a:schemeClr val="tx1"/>
        </a:solidFill>
        <a:latin typeface="+mn-lt"/>
        <a:ea typeface="+mn-ea"/>
        <a:cs typeface="+mn-cs"/>
      </a:defRPr>
    </a:lvl8pPr>
    <a:lvl9pPr marL="5113911" algn="l" defTabSz="1278478" rtl="0" eaLnBrk="1" latinLnBrk="0" hangingPunct="1">
      <a:defRPr sz="168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Рисунок 12"/>
          <p:cNvSpPr>
            <a:spLocks noGrp="1"/>
          </p:cNvSpPr>
          <p:nvPr>
            <p:ph type="pic" sz="quarter" idx="11"/>
          </p:nvPr>
        </p:nvSpPr>
        <p:spPr>
          <a:xfrm>
            <a:off x="6051550" y="579457"/>
            <a:ext cx="3282307" cy="6304289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0" hasCustomPrompt="1"/>
          </p:nvPr>
        </p:nvSpPr>
        <p:spPr>
          <a:xfrm>
            <a:off x="561936" y="5940462"/>
            <a:ext cx="3658611" cy="289226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207"/>
            </a:lvl1pPr>
          </a:lstStyle>
          <a:p>
            <a:r>
              <a:rPr lang="ru-RU" sz="1207" dirty="0"/>
              <a:t>Москва, 2021 год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3" hasCustomPrompt="1"/>
          </p:nvPr>
        </p:nvSpPr>
        <p:spPr>
          <a:xfrm>
            <a:off x="561936" y="1733118"/>
            <a:ext cx="4914286" cy="1931441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2415" b="1" baseline="0"/>
            </a:lvl1pPr>
          </a:lstStyle>
          <a:p>
            <a:pPr lvl="0"/>
            <a:r>
              <a:rPr lang="ru-RU" dirty="0"/>
              <a:t>ЗАГОЛОВОК ПРЕЗЕНТАЦИИ ВСЕГДА НАБИРАЕТСЯ ЗАГЛАВНЫМИ</a:t>
            </a:r>
          </a:p>
        </p:txBody>
      </p:sp>
      <p:pic>
        <p:nvPicPr>
          <p:cNvPr id="10" name="Picture 5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6698" y="579458"/>
            <a:ext cx="1455778" cy="1868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3088132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5888">
          <p15:clr>
            <a:srgbClr val="FBAE40"/>
          </p15:clr>
        </p15:guide>
        <p15:guide id="3" pos="5526">
          <p15:clr>
            <a:srgbClr val="FBAE40"/>
          </p15:clr>
        </p15:guide>
        <p15:guide id="4" pos="2428">
          <p15:clr>
            <a:srgbClr val="FBAE40"/>
          </p15:clr>
        </p15:guide>
        <p15:guide id="5" pos="352">
          <p15:clr>
            <a:srgbClr val="FBAE40"/>
          </p15:clr>
        </p15:guide>
        <p15:guide id="6" pos="714">
          <p15:clr>
            <a:srgbClr val="FBAE40"/>
          </p15:clr>
        </p15:guide>
        <p15:guide id="7" pos="5328">
          <p15:clr>
            <a:srgbClr val="FBAE40"/>
          </p15:clr>
        </p15:guide>
        <p15:guide id="8" pos="4966">
          <p15:clr>
            <a:srgbClr val="FBAE40"/>
          </p15:clr>
        </p15:guide>
        <p15:guide id="9" pos="912">
          <p15:clr>
            <a:srgbClr val="FBAE40"/>
          </p15:clr>
        </p15:guide>
        <p15:guide id="10" pos="1274">
          <p15:clr>
            <a:srgbClr val="FBAE40"/>
          </p15:clr>
        </p15:guide>
        <p15:guide id="11" pos="1472">
          <p15:clr>
            <a:srgbClr val="FBAE40"/>
          </p15:clr>
        </p15:guide>
        <p15:guide id="12" pos="1867">
          <p15:clr>
            <a:srgbClr val="FBAE40"/>
          </p15:clr>
        </p15:guide>
        <p15:guide id="13" pos="2065">
          <p15:clr>
            <a:srgbClr val="FBAE40"/>
          </p15:clr>
        </p15:guide>
        <p15:guide id="17" pos="3812">
          <p15:clr>
            <a:srgbClr val="FBAE40"/>
          </p15:clr>
        </p15:guide>
        <p15:guide id="18" pos="2659">
          <p15:clr>
            <a:srgbClr val="FBAE40"/>
          </p15:clr>
        </p15:guide>
        <p15:guide id="20" pos="3021">
          <p15:clr>
            <a:srgbClr val="FBAE40"/>
          </p15:clr>
        </p15:guide>
        <p15:guide id="21" pos="3219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4"/>
          <p:cNvSpPr>
            <a:spLocks noGrp="1"/>
          </p:cNvSpPr>
          <p:nvPr>
            <p:ph type="pic" sz="quarter" idx="10"/>
          </p:nvPr>
        </p:nvSpPr>
        <p:spPr>
          <a:xfrm>
            <a:off x="557773" y="1385169"/>
            <a:ext cx="3296678" cy="5471766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2" hasCustomPrompt="1"/>
          </p:nvPr>
        </p:nvSpPr>
        <p:spPr>
          <a:xfrm>
            <a:off x="4221163" y="1385169"/>
            <a:ext cx="4324624" cy="2076246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2415" b="1" baseline="0"/>
            </a:lvl1pPr>
          </a:lstStyle>
          <a:p>
            <a:pPr lvl="0"/>
            <a:r>
              <a:rPr lang="ru-RU" dirty="0"/>
              <a:t>ОБЛОЖКА РАЗДЕЛА </a:t>
            </a:r>
          </a:p>
          <a:p>
            <a:pPr lvl="0"/>
            <a:r>
              <a:rPr lang="ru-RU" dirty="0"/>
              <a:t>ПРЕЗЕНТАЦИИ</a:t>
            </a:r>
          </a:p>
        </p:txBody>
      </p:sp>
      <p:pic>
        <p:nvPicPr>
          <p:cNvPr id="6" name="Picture 5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6698" y="579458"/>
            <a:ext cx="1455778" cy="1868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5396488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Группа 14"/>
          <p:cNvGrpSpPr/>
          <p:nvPr userDrawn="1"/>
        </p:nvGrpSpPr>
        <p:grpSpPr>
          <a:xfrm>
            <a:off x="9534005" y="592796"/>
            <a:ext cx="371996" cy="210318"/>
            <a:chOff x="17451741" y="889487"/>
            <a:chExt cx="684138" cy="313578"/>
          </a:xfrm>
        </p:grpSpPr>
        <p:sp>
          <p:nvSpPr>
            <p:cNvPr id="16" name="Прямоугольник 15"/>
            <p:cNvSpPr/>
            <p:nvPr/>
          </p:nvSpPr>
          <p:spPr>
            <a:xfrm>
              <a:off x="17451741" y="889487"/>
              <a:ext cx="680558" cy="31357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15" dirty="0"/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18055263" y="889487"/>
              <a:ext cx="80616" cy="31357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15" dirty="0"/>
            </a:p>
          </p:txBody>
        </p:sp>
      </p:grpSp>
      <p:sp>
        <p:nvSpPr>
          <p:cNvPr id="4" name="Номер слайда 3"/>
          <p:cNvSpPr>
            <a:spLocks noGrp="1"/>
          </p:cNvSpPr>
          <p:nvPr>
            <p:ph type="sldNum" sz="quarter" idx="16"/>
          </p:nvPr>
        </p:nvSpPr>
        <p:spPr>
          <a:xfrm>
            <a:off x="9532058" y="592796"/>
            <a:ext cx="328161" cy="210318"/>
          </a:xfrm>
        </p:spPr>
        <p:txBody>
          <a:bodyPr lIns="0" tIns="0" rIns="0" bIns="0"/>
          <a:lstStyle>
            <a:lvl1pPr algn="ctr">
              <a:defRPr sz="805">
                <a:solidFill>
                  <a:schemeClr val="bg1"/>
                </a:solidFill>
              </a:defRPr>
            </a:lvl1pPr>
          </a:lstStyle>
          <a:p>
            <a:fld id="{77CCD23E-997B-4E57-B2D9-5E2603462AC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0CFE776-C915-45B1-B263-F60E584CE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942" y="531159"/>
            <a:ext cx="6980500" cy="802309"/>
          </a:xfrm>
        </p:spPr>
        <p:txBody>
          <a:bodyPr lIns="0" tIns="0" rIns="0" bIns="0" anchor="t">
            <a:noAutofit/>
          </a:bodyPr>
          <a:lstStyle>
            <a:lvl1pPr algn="l">
              <a:defRPr sz="2012"/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11" name="Picture 5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29312" y="618792"/>
            <a:ext cx="1418746" cy="1821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1442258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окап телефо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3" descr="C:\Users\Ольга\Google Диск\_Проекты\VM135 Шаблон презентации ПР\02 дизайн\слайды\айфон-16.png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659012" y="1508820"/>
            <a:ext cx="3297329" cy="55541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3" descr="C:\Users\Ольга\Google Диск\_Проекты\VM135 Шаблон презентации ПР\02 дизайн\слайды\айфон-16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99406" y="1629121"/>
            <a:ext cx="2043513" cy="3984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Группа 14"/>
          <p:cNvGrpSpPr/>
          <p:nvPr userDrawn="1"/>
        </p:nvGrpSpPr>
        <p:grpSpPr>
          <a:xfrm>
            <a:off x="9534005" y="592796"/>
            <a:ext cx="371996" cy="210318"/>
            <a:chOff x="17451741" y="889487"/>
            <a:chExt cx="684138" cy="313578"/>
          </a:xfrm>
        </p:grpSpPr>
        <p:sp>
          <p:nvSpPr>
            <p:cNvPr id="16" name="Прямоугольник 15"/>
            <p:cNvSpPr/>
            <p:nvPr/>
          </p:nvSpPr>
          <p:spPr>
            <a:xfrm>
              <a:off x="17451741" y="889487"/>
              <a:ext cx="680558" cy="31357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15" dirty="0"/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18055263" y="889487"/>
              <a:ext cx="80616" cy="31357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15" dirty="0"/>
            </a:p>
          </p:txBody>
        </p:sp>
      </p:grpSp>
      <p:sp>
        <p:nvSpPr>
          <p:cNvPr id="19" name="Рисунок 3">
            <a:extLst>
              <a:ext uri="{FF2B5EF4-FFF2-40B4-BE49-F238E27FC236}">
                <a16:creationId xmlns:a16="http://schemas.microsoft.com/office/drawing/2014/main" id="{4089DFBA-AA42-46CA-961C-F92C5F875ED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368780" y="1755812"/>
            <a:ext cx="1741383" cy="3755479"/>
          </a:xfrm>
          <a:prstGeom prst="roundRect">
            <a:avLst>
              <a:gd name="adj" fmla="val 10423"/>
            </a:avLst>
          </a:prstGeom>
        </p:spPr>
      </p:sp>
      <p:sp>
        <p:nvSpPr>
          <p:cNvPr id="22" name="Рисунок 3">
            <a:extLst>
              <a:ext uri="{FF2B5EF4-FFF2-40B4-BE49-F238E27FC236}">
                <a16:creationId xmlns:a16="http://schemas.microsoft.com/office/drawing/2014/main" id="{4089DFBA-AA42-46CA-961C-F92C5F875ED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894971" y="1713724"/>
            <a:ext cx="2877554" cy="7171919"/>
          </a:xfrm>
          <a:prstGeom prst="roundRect">
            <a:avLst>
              <a:gd name="adj" fmla="val 10423"/>
            </a:avLst>
          </a:prstGeom>
        </p:spPr>
      </p:sp>
      <p:sp>
        <p:nvSpPr>
          <p:cNvPr id="18" name="Номер слайда 3">
            <a:extLst>
              <a:ext uri="{FF2B5EF4-FFF2-40B4-BE49-F238E27FC236}">
                <a16:creationId xmlns:a16="http://schemas.microsoft.com/office/drawing/2014/main" id="{3D243143-1EB5-D44E-ADB1-867F2DAD3B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9532058" y="592796"/>
            <a:ext cx="328161" cy="210318"/>
          </a:xfrm>
        </p:spPr>
        <p:txBody>
          <a:bodyPr lIns="0" tIns="0" rIns="0" bIns="0"/>
          <a:lstStyle>
            <a:lvl1pPr algn="ctr">
              <a:defRPr sz="805">
                <a:solidFill>
                  <a:schemeClr val="bg1"/>
                </a:solidFill>
              </a:defRPr>
            </a:lvl1pPr>
          </a:lstStyle>
          <a:p>
            <a:fld id="{77CCD23E-997B-4E57-B2D9-5E2603462AC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96F4D29-733A-4F2F-B9A7-CF767F3155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9798" y="531160"/>
            <a:ext cx="7176275" cy="754011"/>
          </a:xfrm>
        </p:spPr>
        <p:txBody>
          <a:bodyPr lIns="0" tIns="0" rIns="0" bIns="0" anchor="t">
            <a:noAutofit/>
          </a:bodyPr>
          <a:lstStyle>
            <a:lvl1pPr marL="0" algn="l" defTabSz="1220432" rtl="0" eaLnBrk="1" latinLnBrk="0" hangingPunct="1">
              <a:spcBef>
                <a:spcPct val="0"/>
              </a:spcBef>
              <a:buNone/>
              <a:defRPr lang="ru-RU" sz="2012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21" hasCustomPrompt="1"/>
          </p:nvPr>
        </p:nvSpPr>
        <p:spPr>
          <a:xfrm>
            <a:off x="574844" y="1786891"/>
            <a:ext cx="2208469" cy="1834550"/>
          </a:xfrm>
        </p:spPr>
        <p:txBody>
          <a:bodyPr lIns="0" tIns="0" rIns="0" bIns="0">
            <a:normAutofit/>
          </a:bodyPr>
          <a:lstStyle>
            <a:lvl1pPr marL="0" marR="0" indent="0" algn="l" defTabSz="12204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939"/>
            </a:lvl1pPr>
          </a:lstStyle>
          <a:p>
            <a:pPr marL="0" marR="0" lvl="0" indent="0" algn="l" defTabSz="12204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939" dirty="0"/>
              <a:t>Работы, проведенные отделом управления клиентской аналитики, </a:t>
            </a:r>
          </a:p>
          <a:p>
            <a:pPr marL="0" marR="0" lvl="0" indent="0" algn="l" defTabSz="12204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939" dirty="0"/>
              <a:t>для проекта</a:t>
            </a:r>
          </a:p>
          <a:p>
            <a:pPr lvl="0"/>
            <a:endParaRPr lang="ru-RU" dirty="0"/>
          </a:p>
        </p:txBody>
      </p:sp>
      <p:pic>
        <p:nvPicPr>
          <p:cNvPr id="20" name="Picture 5"/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29312" y="618792"/>
            <a:ext cx="1418746" cy="1821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9053261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окап браузе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Группа 14"/>
          <p:cNvGrpSpPr/>
          <p:nvPr userDrawn="1"/>
        </p:nvGrpSpPr>
        <p:grpSpPr>
          <a:xfrm>
            <a:off x="9534005" y="592796"/>
            <a:ext cx="371996" cy="210318"/>
            <a:chOff x="17451741" y="889487"/>
            <a:chExt cx="684138" cy="313578"/>
          </a:xfrm>
        </p:grpSpPr>
        <p:sp>
          <p:nvSpPr>
            <p:cNvPr id="16" name="Прямоугольник 15"/>
            <p:cNvSpPr/>
            <p:nvPr/>
          </p:nvSpPr>
          <p:spPr>
            <a:xfrm>
              <a:off x="17451741" y="889487"/>
              <a:ext cx="680558" cy="31357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15" dirty="0"/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18055263" y="889487"/>
              <a:ext cx="80616" cy="31357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15" dirty="0"/>
            </a:p>
          </p:txBody>
        </p:sp>
      </p:grpSp>
      <p:sp>
        <p:nvSpPr>
          <p:cNvPr id="12" name="Номер слайда 3">
            <a:extLst>
              <a:ext uri="{FF2B5EF4-FFF2-40B4-BE49-F238E27FC236}">
                <a16:creationId xmlns:a16="http://schemas.microsoft.com/office/drawing/2014/main" id="{883E7A7A-E7A8-E748-8CFC-E055B927080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9532058" y="592796"/>
            <a:ext cx="328161" cy="210318"/>
          </a:xfrm>
        </p:spPr>
        <p:txBody>
          <a:bodyPr lIns="0" tIns="0" rIns="0" bIns="0"/>
          <a:lstStyle>
            <a:lvl1pPr algn="ctr">
              <a:defRPr sz="805">
                <a:solidFill>
                  <a:schemeClr val="bg1"/>
                </a:solidFill>
              </a:defRPr>
            </a:lvl1pPr>
          </a:lstStyle>
          <a:p>
            <a:fld id="{77CCD23E-997B-4E57-B2D9-5E2603462AC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00D71C7-09AB-4656-896D-6F962B9D70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942" y="531159"/>
            <a:ext cx="6854198" cy="810062"/>
          </a:xfrm>
        </p:spPr>
        <p:txBody>
          <a:bodyPr lIns="0" tIns="0" rIns="0" bIns="0" anchor="t">
            <a:noAutofit/>
          </a:bodyPr>
          <a:lstStyle>
            <a:lvl1pPr algn="l">
              <a:defRPr sz="2012"/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19" name="Picture 3" descr="C:\Users\Ольга\Google Диск\_Проекты\VM135 Шаблон презентации ПР\02 дизайн\слайды\браузер-17.png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456899" y="1014133"/>
            <a:ext cx="6528661" cy="53077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Рисунок 4"/>
          <p:cNvSpPr>
            <a:spLocks noGrp="1"/>
          </p:cNvSpPr>
          <p:nvPr>
            <p:ph type="pic" sz="quarter" idx="18"/>
          </p:nvPr>
        </p:nvSpPr>
        <p:spPr>
          <a:xfrm>
            <a:off x="2972452" y="2023792"/>
            <a:ext cx="5808297" cy="3565508"/>
          </a:xfrm>
          <a:custGeom>
            <a:avLst/>
            <a:gdLst>
              <a:gd name="connsiteX0" fmla="*/ 0 w 10064299"/>
              <a:gd name="connsiteY0" fmla="*/ 161526 h 6445557"/>
              <a:gd name="connsiteX1" fmla="*/ 161526 w 10064299"/>
              <a:gd name="connsiteY1" fmla="*/ 0 h 6445557"/>
              <a:gd name="connsiteX2" fmla="*/ 9902773 w 10064299"/>
              <a:gd name="connsiteY2" fmla="*/ 0 h 6445557"/>
              <a:gd name="connsiteX3" fmla="*/ 10064299 w 10064299"/>
              <a:gd name="connsiteY3" fmla="*/ 161526 h 6445557"/>
              <a:gd name="connsiteX4" fmla="*/ 10064299 w 10064299"/>
              <a:gd name="connsiteY4" fmla="*/ 6284031 h 6445557"/>
              <a:gd name="connsiteX5" fmla="*/ 9902773 w 10064299"/>
              <a:gd name="connsiteY5" fmla="*/ 6445557 h 6445557"/>
              <a:gd name="connsiteX6" fmla="*/ 161526 w 10064299"/>
              <a:gd name="connsiteY6" fmla="*/ 6445557 h 6445557"/>
              <a:gd name="connsiteX7" fmla="*/ 0 w 10064299"/>
              <a:gd name="connsiteY7" fmla="*/ 6284031 h 6445557"/>
              <a:gd name="connsiteX8" fmla="*/ 0 w 10064299"/>
              <a:gd name="connsiteY8" fmla="*/ 161526 h 6445557"/>
              <a:gd name="connsiteX0" fmla="*/ 0 w 10064299"/>
              <a:gd name="connsiteY0" fmla="*/ 161526 h 6445557"/>
              <a:gd name="connsiteX1" fmla="*/ 161526 w 10064299"/>
              <a:gd name="connsiteY1" fmla="*/ 0 h 6445557"/>
              <a:gd name="connsiteX2" fmla="*/ 9902773 w 10064299"/>
              <a:gd name="connsiteY2" fmla="*/ 0 h 6445557"/>
              <a:gd name="connsiteX3" fmla="*/ 10064299 w 10064299"/>
              <a:gd name="connsiteY3" fmla="*/ 161526 h 6445557"/>
              <a:gd name="connsiteX4" fmla="*/ 10064299 w 10064299"/>
              <a:gd name="connsiteY4" fmla="*/ 6284031 h 6445557"/>
              <a:gd name="connsiteX5" fmla="*/ 9902773 w 10064299"/>
              <a:gd name="connsiteY5" fmla="*/ 6445557 h 6445557"/>
              <a:gd name="connsiteX6" fmla="*/ 161526 w 10064299"/>
              <a:gd name="connsiteY6" fmla="*/ 6445557 h 6445557"/>
              <a:gd name="connsiteX7" fmla="*/ 0 w 10064299"/>
              <a:gd name="connsiteY7" fmla="*/ 6284031 h 6445557"/>
              <a:gd name="connsiteX8" fmla="*/ 0 w 10064299"/>
              <a:gd name="connsiteY8" fmla="*/ 161526 h 6445557"/>
              <a:gd name="connsiteX0" fmla="*/ 0 w 10064299"/>
              <a:gd name="connsiteY0" fmla="*/ 798656 h 7082687"/>
              <a:gd name="connsiteX1" fmla="*/ 1482982 w 10064299"/>
              <a:gd name="connsiteY1" fmla="*/ 0 h 7082687"/>
              <a:gd name="connsiteX2" fmla="*/ 9902773 w 10064299"/>
              <a:gd name="connsiteY2" fmla="*/ 637130 h 7082687"/>
              <a:gd name="connsiteX3" fmla="*/ 10064299 w 10064299"/>
              <a:gd name="connsiteY3" fmla="*/ 798656 h 7082687"/>
              <a:gd name="connsiteX4" fmla="*/ 10064299 w 10064299"/>
              <a:gd name="connsiteY4" fmla="*/ 6921161 h 7082687"/>
              <a:gd name="connsiteX5" fmla="*/ 9902773 w 10064299"/>
              <a:gd name="connsiteY5" fmla="*/ 7082687 h 7082687"/>
              <a:gd name="connsiteX6" fmla="*/ 161526 w 10064299"/>
              <a:gd name="connsiteY6" fmla="*/ 7082687 h 7082687"/>
              <a:gd name="connsiteX7" fmla="*/ 0 w 10064299"/>
              <a:gd name="connsiteY7" fmla="*/ 6921161 h 7082687"/>
              <a:gd name="connsiteX8" fmla="*/ 0 w 10064299"/>
              <a:gd name="connsiteY8" fmla="*/ 798656 h 7082687"/>
              <a:gd name="connsiteX0" fmla="*/ 0 w 10064299"/>
              <a:gd name="connsiteY0" fmla="*/ 798656 h 7082687"/>
              <a:gd name="connsiteX1" fmla="*/ 1482982 w 10064299"/>
              <a:gd name="connsiteY1" fmla="*/ 0 h 7082687"/>
              <a:gd name="connsiteX2" fmla="*/ 9902773 w 10064299"/>
              <a:gd name="connsiteY2" fmla="*/ 637130 h 7082687"/>
              <a:gd name="connsiteX3" fmla="*/ 10064299 w 10064299"/>
              <a:gd name="connsiteY3" fmla="*/ 798656 h 7082687"/>
              <a:gd name="connsiteX4" fmla="*/ 10064299 w 10064299"/>
              <a:gd name="connsiteY4" fmla="*/ 6921161 h 7082687"/>
              <a:gd name="connsiteX5" fmla="*/ 9902773 w 10064299"/>
              <a:gd name="connsiteY5" fmla="*/ 7082687 h 7082687"/>
              <a:gd name="connsiteX6" fmla="*/ 161526 w 10064299"/>
              <a:gd name="connsiteY6" fmla="*/ 7082687 h 7082687"/>
              <a:gd name="connsiteX7" fmla="*/ 0 w 10064299"/>
              <a:gd name="connsiteY7" fmla="*/ 6921161 h 7082687"/>
              <a:gd name="connsiteX8" fmla="*/ 0 w 10064299"/>
              <a:gd name="connsiteY8" fmla="*/ 798656 h 7082687"/>
              <a:gd name="connsiteX0" fmla="*/ 733538 w 10797837"/>
              <a:gd name="connsiteY0" fmla="*/ 511396 h 6795427"/>
              <a:gd name="connsiteX1" fmla="*/ 10636311 w 10797837"/>
              <a:gd name="connsiteY1" fmla="*/ 349870 h 6795427"/>
              <a:gd name="connsiteX2" fmla="*/ 10797837 w 10797837"/>
              <a:gd name="connsiteY2" fmla="*/ 511396 h 6795427"/>
              <a:gd name="connsiteX3" fmla="*/ 10797837 w 10797837"/>
              <a:gd name="connsiteY3" fmla="*/ 6633901 h 6795427"/>
              <a:gd name="connsiteX4" fmla="*/ 10636311 w 10797837"/>
              <a:gd name="connsiteY4" fmla="*/ 6795427 h 6795427"/>
              <a:gd name="connsiteX5" fmla="*/ 895064 w 10797837"/>
              <a:gd name="connsiteY5" fmla="*/ 6795427 h 6795427"/>
              <a:gd name="connsiteX6" fmla="*/ 733538 w 10797837"/>
              <a:gd name="connsiteY6" fmla="*/ 6633901 h 6795427"/>
              <a:gd name="connsiteX7" fmla="*/ 733538 w 10797837"/>
              <a:gd name="connsiteY7" fmla="*/ 511396 h 6795427"/>
              <a:gd name="connsiteX0" fmla="*/ 733538 w 10797837"/>
              <a:gd name="connsiteY0" fmla="*/ 511396 h 6795427"/>
              <a:gd name="connsiteX1" fmla="*/ 10636311 w 10797837"/>
              <a:gd name="connsiteY1" fmla="*/ 349870 h 6795427"/>
              <a:gd name="connsiteX2" fmla="*/ 10797837 w 10797837"/>
              <a:gd name="connsiteY2" fmla="*/ 511396 h 6795427"/>
              <a:gd name="connsiteX3" fmla="*/ 10797837 w 10797837"/>
              <a:gd name="connsiteY3" fmla="*/ 6633901 h 6795427"/>
              <a:gd name="connsiteX4" fmla="*/ 10636311 w 10797837"/>
              <a:gd name="connsiteY4" fmla="*/ 6795427 h 6795427"/>
              <a:gd name="connsiteX5" fmla="*/ 895064 w 10797837"/>
              <a:gd name="connsiteY5" fmla="*/ 6795427 h 6795427"/>
              <a:gd name="connsiteX6" fmla="*/ 733538 w 10797837"/>
              <a:gd name="connsiteY6" fmla="*/ 6633901 h 6795427"/>
              <a:gd name="connsiteX7" fmla="*/ 733538 w 10797837"/>
              <a:gd name="connsiteY7" fmla="*/ 511396 h 6795427"/>
              <a:gd name="connsiteX0" fmla="*/ 1 w 10064300"/>
              <a:gd name="connsiteY0" fmla="*/ 912714 h 7196745"/>
              <a:gd name="connsiteX1" fmla="*/ 9902774 w 10064300"/>
              <a:gd name="connsiteY1" fmla="*/ 751188 h 7196745"/>
              <a:gd name="connsiteX2" fmla="*/ 10064300 w 10064300"/>
              <a:gd name="connsiteY2" fmla="*/ 912714 h 7196745"/>
              <a:gd name="connsiteX3" fmla="*/ 10064300 w 10064300"/>
              <a:gd name="connsiteY3" fmla="*/ 7035219 h 7196745"/>
              <a:gd name="connsiteX4" fmla="*/ 9902774 w 10064300"/>
              <a:gd name="connsiteY4" fmla="*/ 7196745 h 7196745"/>
              <a:gd name="connsiteX5" fmla="*/ 161527 w 10064300"/>
              <a:gd name="connsiteY5" fmla="*/ 7196745 h 7196745"/>
              <a:gd name="connsiteX6" fmla="*/ 1 w 10064300"/>
              <a:gd name="connsiteY6" fmla="*/ 7035219 h 7196745"/>
              <a:gd name="connsiteX7" fmla="*/ 1 w 10064300"/>
              <a:gd name="connsiteY7" fmla="*/ 912714 h 7196745"/>
              <a:gd name="connsiteX0" fmla="*/ 1 w 10064300"/>
              <a:gd name="connsiteY0" fmla="*/ 912714 h 7196745"/>
              <a:gd name="connsiteX1" fmla="*/ 9902774 w 10064300"/>
              <a:gd name="connsiteY1" fmla="*/ 751188 h 7196745"/>
              <a:gd name="connsiteX2" fmla="*/ 10064300 w 10064300"/>
              <a:gd name="connsiteY2" fmla="*/ 912714 h 7196745"/>
              <a:gd name="connsiteX3" fmla="*/ 10064300 w 10064300"/>
              <a:gd name="connsiteY3" fmla="*/ 7035219 h 7196745"/>
              <a:gd name="connsiteX4" fmla="*/ 9902774 w 10064300"/>
              <a:gd name="connsiteY4" fmla="*/ 7196745 h 7196745"/>
              <a:gd name="connsiteX5" fmla="*/ 161527 w 10064300"/>
              <a:gd name="connsiteY5" fmla="*/ 7196745 h 7196745"/>
              <a:gd name="connsiteX6" fmla="*/ 1 w 10064300"/>
              <a:gd name="connsiteY6" fmla="*/ 7035219 h 7196745"/>
              <a:gd name="connsiteX7" fmla="*/ 1 w 10064300"/>
              <a:gd name="connsiteY7" fmla="*/ 912714 h 7196745"/>
              <a:gd name="connsiteX0" fmla="*/ 1 w 10064300"/>
              <a:gd name="connsiteY0" fmla="*/ 912714 h 7196745"/>
              <a:gd name="connsiteX1" fmla="*/ 9902774 w 10064300"/>
              <a:gd name="connsiteY1" fmla="*/ 751188 h 7196745"/>
              <a:gd name="connsiteX2" fmla="*/ 10064300 w 10064300"/>
              <a:gd name="connsiteY2" fmla="*/ 912714 h 7196745"/>
              <a:gd name="connsiteX3" fmla="*/ 10064300 w 10064300"/>
              <a:gd name="connsiteY3" fmla="*/ 7035219 h 7196745"/>
              <a:gd name="connsiteX4" fmla="*/ 9902774 w 10064300"/>
              <a:gd name="connsiteY4" fmla="*/ 7196745 h 7196745"/>
              <a:gd name="connsiteX5" fmla="*/ 161527 w 10064300"/>
              <a:gd name="connsiteY5" fmla="*/ 7196745 h 7196745"/>
              <a:gd name="connsiteX6" fmla="*/ 1 w 10064300"/>
              <a:gd name="connsiteY6" fmla="*/ 7035219 h 7196745"/>
              <a:gd name="connsiteX7" fmla="*/ 1 w 10064300"/>
              <a:gd name="connsiteY7" fmla="*/ 912714 h 7196745"/>
              <a:gd name="connsiteX0" fmla="*/ 1 w 10064300"/>
              <a:gd name="connsiteY0" fmla="*/ 912714 h 7196745"/>
              <a:gd name="connsiteX1" fmla="*/ 9902774 w 10064300"/>
              <a:gd name="connsiteY1" fmla="*/ 751188 h 7196745"/>
              <a:gd name="connsiteX2" fmla="*/ 10064300 w 10064300"/>
              <a:gd name="connsiteY2" fmla="*/ 912714 h 7196745"/>
              <a:gd name="connsiteX3" fmla="*/ 10064300 w 10064300"/>
              <a:gd name="connsiteY3" fmla="*/ 7035219 h 7196745"/>
              <a:gd name="connsiteX4" fmla="*/ 9902774 w 10064300"/>
              <a:gd name="connsiteY4" fmla="*/ 7196745 h 7196745"/>
              <a:gd name="connsiteX5" fmla="*/ 161527 w 10064300"/>
              <a:gd name="connsiteY5" fmla="*/ 7196745 h 7196745"/>
              <a:gd name="connsiteX6" fmla="*/ 1 w 10064300"/>
              <a:gd name="connsiteY6" fmla="*/ 7035219 h 7196745"/>
              <a:gd name="connsiteX7" fmla="*/ 1 w 10064300"/>
              <a:gd name="connsiteY7" fmla="*/ 912714 h 7196745"/>
              <a:gd name="connsiteX0" fmla="*/ 0 w 10064299"/>
              <a:gd name="connsiteY0" fmla="*/ 765313 h 7049344"/>
              <a:gd name="connsiteX1" fmla="*/ 10064299 w 10064299"/>
              <a:gd name="connsiteY1" fmla="*/ 765313 h 7049344"/>
              <a:gd name="connsiteX2" fmla="*/ 10064299 w 10064299"/>
              <a:gd name="connsiteY2" fmla="*/ 6887818 h 7049344"/>
              <a:gd name="connsiteX3" fmla="*/ 9902773 w 10064299"/>
              <a:gd name="connsiteY3" fmla="*/ 7049344 h 7049344"/>
              <a:gd name="connsiteX4" fmla="*/ 161526 w 10064299"/>
              <a:gd name="connsiteY4" fmla="*/ 7049344 h 7049344"/>
              <a:gd name="connsiteX5" fmla="*/ 0 w 10064299"/>
              <a:gd name="connsiteY5" fmla="*/ 6887818 h 7049344"/>
              <a:gd name="connsiteX6" fmla="*/ 0 w 10064299"/>
              <a:gd name="connsiteY6" fmla="*/ 765313 h 7049344"/>
              <a:gd name="connsiteX0" fmla="*/ 0 w 10076098"/>
              <a:gd name="connsiteY0" fmla="*/ 687714 h 6971745"/>
              <a:gd name="connsiteX1" fmla="*/ 10076098 w 10076098"/>
              <a:gd name="connsiteY1" fmla="*/ 852896 h 6971745"/>
              <a:gd name="connsiteX2" fmla="*/ 10064299 w 10076098"/>
              <a:gd name="connsiteY2" fmla="*/ 6810219 h 6971745"/>
              <a:gd name="connsiteX3" fmla="*/ 9902773 w 10076098"/>
              <a:gd name="connsiteY3" fmla="*/ 6971745 h 6971745"/>
              <a:gd name="connsiteX4" fmla="*/ 161526 w 10076098"/>
              <a:gd name="connsiteY4" fmla="*/ 6971745 h 6971745"/>
              <a:gd name="connsiteX5" fmla="*/ 0 w 10076098"/>
              <a:gd name="connsiteY5" fmla="*/ 6810219 h 6971745"/>
              <a:gd name="connsiteX6" fmla="*/ 0 w 10076098"/>
              <a:gd name="connsiteY6" fmla="*/ 687714 h 6971745"/>
              <a:gd name="connsiteX0" fmla="*/ 0 w 10076098"/>
              <a:gd name="connsiteY0" fmla="*/ 413178 h 6697209"/>
              <a:gd name="connsiteX1" fmla="*/ 10076098 w 10076098"/>
              <a:gd name="connsiteY1" fmla="*/ 578360 h 6697209"/>
              <a:gd name="connsiteX2" fmla="*/ 10064299 w 10076098"/>
              <a:gd name="connsiteY2" fmla="*/ 6535683 h 6697209"/>
              <a:gd name="connsiteX3" fmla="*/ 9902773 w 10076098"/>
              <a:gd name="connsiteY3" fmla="*/ 6697209 h 6697209"/>
              <a:gd name="connsiteX4" fmla="*/ 161526 w 10076098"/>
              <a:gd name="connsiteY4" fmla="*/ 6697209 h 6697209"/>
              <a:gd name="connsiteX5" fmla="*/ 0 w 10076098"/>
              <a:gd name="connsiteY5" fmla="*/ 6535683 h 6697209"/>
              <a:gd name="connsiteX6" fmla="*/ 0 w 10076098"/>
              <a:gd name="connsiteY6" fmla="*/ 413178 h 6697209"/>
              <a:gd name="connsiteX0" fmla="*/ 0 w 10076098"/>
              <a:gd name="connsiteY0" fmla="*/ 455237 h 6562287"/>
              <a:gd name="connsiteX1" fmla="*/ 10076098 w 10076098"/>
              <a:gd name="connsiteY1" fmla="*/ 443438 h 6562287"/>
              <a:gd name="connsiteX2" fmla="*/ 10064299 w 10076098"/>
              <a:gd name="connsiteY2" fmla="*/ 6400761 h 6562287"/>
              <a:gd name="connsiteX3" fmla="*/ 9902773 w 10076098"/>
              <a:gd name="connsiteY3" fmla="*/ 6562287 h 6562287"/>
              <a:gd name="connsiteX4" fmla="*/ 161526 w 10076098"/>
              <a:gd name="connsiteY4" fmla="*/ 6562287 h 6562287"/>
              <a:gd name="connsiteX5" fmla="*/ 0 w 10076098"/>
              <a:gd name="connsiteY5" fmla="*/ 6400761 h 6562287"/>
              <a:gd name="connsiteX6" fmla="*/ 0 w 10076098"/>
              <a:gd name="connsiteY6" fmla="*/ 455237 h 6562287"/>
              <a:gd name="connsiteX0" fmla="*/ 0 w 10076098"/>
              <a:gd name="connsiteY0" fmla="*/ 11799 h 6118849"/>
              <a:gd name="connsiteX1" fmla="*/ 10076098 w 10076098"/>
              <a:gd name="connsiteY1" fmla="*/ 0 h 6118849"/>
              <a:gd name="connsiteX2" fmla="*/ 10064299 w 10076098"/>
              <a:gd name="connsiteY2" fmla="*/ 5957323 h 6118849"/>
              <a:gd name="connsiteX3" fmla="*/ 9902773 w 10076098"/>
              <a:gd name="connsiteY3" fmla="*/ 6118849 h 6118849"/>
              <a:gd name="connsiteX4" fmla="*/ 161526 w 10076098"/>
              <a:gd name="connsiteY4" fmla="*/ 6118849 h 6118849"/>
              <a:gd name="connsiteX5" fmla="*/ 0 w 10076098"/>
              <a:gd name="connsiteY5" fmla="*/ 5957323 h 6118849"/>
              <a:gd name="connsiteX6" fmla="*/ 0 w 10076098"/>
              <a:gd name="connsiteY6" fmla="*/ 11799 h 6118849"/>
              <a:gd name="connsiteX0" fmla="*/ 0 w 10076098"/>
              <a:gd name="connsiteY0" fmla="*/ 11799 h 6118849"/>
              <a:gd name="connsiteX1" fmla="*/ 10076098 w 10076098"/>
              <a:gd name="connsiteY1" fmla="*/ 0 h 6118849"/>
              <a:gd name="connsiteX2" fmla="*/ 10064299 w 10076098"/>
              <a:gd name="connsiteY2" fmla="*/ 5957323 h 6118849"/>
              <a:gd name="connsiteX3" fmla="*/ 9902773 w 10076098"/>
              <a:gd name="connsiteY3" fmla="*/ 6118849 h 6118849"/>
              <a:gd name="connsiteX4" fmla="*/ 161526 w 10076098"/>
              <a:gd name="connsiteY4" fmla="*/ 6118849 h 6118849"/>
              <a:gd name="connsiteX5" fmla="*/ 0 w 10076098"/>
              <a:gd name="connsiteY5" fmla="*/ 5957323 h 6118849"/>
              <a:gd name="connsiteX6" fmla="*/ 0 w 10076098"/>
              <a:gd name="connsiteY6" fmla="*/ 11799 h 6118849"/>
              <a:gd name="connsiteX0" fmla="*/ 0 w 10076098"/>
              <a:gd name="connsiteY0" fmla="*/ 59467 h 6118849"/>
              <a:gd name="connsiteX1" fmla="*/ 10076098 w 10076098"/>
              <a:gd name="connsiteY1" fmla="*/ 0 h 6118849"/>
              <a:gd name="connsiteX2" fmla="*/ 10064299 w 10076098"/>
              <a:gd name="connsiteY2" fmla="*/ 5957323 h 6118849"/>
              <a:gd name="connsiteX3" fmla="*/ 9902773 w 10076098"/>
              <a:gd name="connsiteY3" fmla="*/ 6118849 h 6118849"/>
              <a:gd name="connsiteX4" fmla="*/ 161526 w 10076098"/>
              <a:gd name="connsiteY4" fmla="*/ 6118849 h 6118849"/>
              <a:gd name="connsiteX5" fmla="*/ 0 w 10076098"/>
              <a:gd name="connsiteY5" fmla="*/ 5957323 h 6118849"/>
              <a:gd name="connsiteX6" fmla="*/ 0 w 10076098"/>
              <a:gd name="connsiteY6" fmla="*/ 59467 h 6118849"/>
              <a:gd name="connsiteX0" fmla="*/ 0 w 10095598"/>
              <a:gd name="connsiteY0" fmla="*/ 0 h 6059382"/>
              <a:gd name="connsiteX1" fmla="*/ 10095598 w 10095598"/>
              <a:gd name="connsiteY1" fmla="*/ 26335 h 6059382"/>
              <a:gd name="connsiteX2" fmla="*/ 10064299 w 10095598"/>
              <a:gd name="connsiteY2" fmla="*/ 5897856 h 6059382"/>
              <a:gd name="connsiteX3" fmla="*/ 9902773 w 10095598"/>
              <a:gd name="connsiteY3" fmla="*/ 6059382 h 6059382"/>
              <a:gd name="connsiteX4" fmla="*/ 161526 w 10095598"/>
              <a:gd name="connsiteY4" fmla="*/ 6059382 h 6059382"/>
              <a:gd name="connsiteX5" fmla="*/ 0 w 10095598"/>
              <a:gd name="connsiteY5" fmla="*/ 5897856 h 6059382"/>
              <a:gd name="connsiteX6" fmla="*/ 0 w 10095598"/>
              <a:gd name="connsiteY6" fmla="*/ 0 h 6059382"/>
              <a:gd name="connsiteX0" fmla="*/ 0 w 10095598"/>
              <a:gd name="connsiteY0" fmla="*/ 0 h 6059382"/>
              <a:gd name="connsiteX1" fmla="*/ 10095598 w 10095598"/>
              <a:gd name="connsiteY1" fmla="*/ 26335 h 6059382"/>
              <a:gd name="connsiteX2" fmla="*/ 10093552 w 10095598"/>
              <a:gd name="connsiteY2" fmla="*/ 5869257 h 6059382"/>
              <a:gd name="connsiteX3" fmla="*/ 9902773 w 10095598"/>
              <a:gd name="connsiteY3" fmla="*/ 6059382 h 6059382"/>
              <a:gd name="connsiteX4" fmla="*/ 161526 w 10095598"/>
              <a:gd name="connsiteY4" fmla="*/ 6059382 h 6059382"/>
              <a:gd name="connsiteX5" fmla="*/ 0 w 10095598"/>
              <a:gd name="connsiteY5" fmla="*/ 5897856 h 6059382"/>
              <a:gd name="connsiteX6" fmla="*/ 0 w 10095598"/>
              <a:gd name="connsiteY6" fmla="*/ 0 h 60593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95598" h="6059382">
                <a:moveTo>
                  <a:pt x="0" y="0"/>
                </a:moveTo>
                <a:lnTo>
                  <a:pt x="10095598" y="26335"/>
                </a:lnTo>
                <a:lnTo>
                  <a:pt x="10093552" y="5869257"/>
                </a:lnTo>
                <a:cubicBezTo>
                  <a:pt x="10093552" y="5958465"/>
                  <a:pt x="9991981" y="6059382"/>
                  <a:pt x="9902773" y="6059382"/>
                </a:cubicBezTo>
                <a:lnTo>
                  <a:pt x="161526" y="6059382"/>
                </a:lnTo>
                <a:cubicBezTo>
                  <a:pt x="72318" y="6059382"/>
                  <a:pt x="0" y="5987064"/>
                  <a:pt x="0" y="5897856"/>
                </a:cubicBezTo>
                <a:cubicBezTo>
                  <a:pt x="0" y="3857021"/>
                  <a:pt x="1909" y="1954722"/>
                  <a:pt x="0" y="0"/>
                </a:cubicBezTo>
                <a:close/>
              </a:path>
            </a:pathLst>
          </a:custGeom>
        </p:spPr>
        <p:txBody>
          <a:bodyPr/>
          <a:lstStyle/>
          <a:p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21" hasCustomPrompt="1"/>
          </p:nvPr>
        </p:nvSpPr>
        <p:spPr>
          <a:xfrm>
            <a:off x="574844" y="1786891"/>
            <a:ext cx="2179729" cy="1834550"/>
          </a:xfrm>
        </p:spPr>
        <p:txBody>
          <a:bodyPr lIns="0" tIns="0" rIns="0" bIns="0">
            <a:normAutofit/>
          </a:bodyPr>
          <a:lstStyle>
            <a:lvl1pPr marL="0" marR="0" indent="0" algn="l" defTabSz="12204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939"/>
            </a:lvl1pPr>
          </a:lstStyle>
          <a:p>
            <a:pPr marL="0" marR="0" lvl="0" indent="0" algn="l" defTabSz="12204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939" dirty="0"/>
              <a:t>Работы, проведенные отделом управления клиентской аналитики, </a:t>
            </a:r>
          </a:p>
          <a:p>
            <a:pPr marL="0" marR="0" lvl="0" indent="0" algn="l" defTabSz="12204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939" dirty="0"/>
              <a:t>для проекта</a:t>
            </a:r>
          </a:p>
          <a:p>
            <a:pPr lvl="0"/>
            <a:endParaRPr lang="ru-RU" dirty="0"/>
          </a:p>
        </p:txBody>
      </p:sp>
      <p:pic>
        <p:nvPicPr>
          <p:cNvPr id="18" name="Picture 5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29312" y="618792"/>
            <a:ext cx="1418746" cy="1821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0556007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окап планш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3" descr="C:\Users\Ольга\Google Диск\_Проекты\VM135 Шаблон презентации ПР\02 дизайн\слайды\айпад-18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46830" y="1484730"/>
            <a:ext cx="8009440" cy="4863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Группа 14"/>
          <p:cNvGrpSpPr/>
          <p:nvPr userDrawn="1"/>
        </p:nvGrpSpPr>
        <p:grpSpPr>
          <a:xfrm>
            <a:off x="9534005" y="592796"/>
            <a:ext cx="371996" cy="210318"/>
            <a:chOff x="17451741" y="889487"/>
            <a:chExt cx="684138" cy="313578"/>
          </a:xfrm>
        </p:grpSpPr>
        <p:sp>
          <p:nvSpPr>
            <p:cNvPr id="16" name="Прямоугольник 15"/>
            <p:cNvSpPr/>
            <p:nvPr/>
          </p:nvSpPr>
          <p:spPr>
            <a:xfrm>
              <a:off x="17451741" y="889487"/>
              <a:ext cx="680558" cy="31357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15" dirty="0"/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18055263" y="889487"/>
              <a:ext cx="80616" cy="31357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15" dirty="0"/>
            </a:p>
          </p:txBody>
        </p:sp>
      </p:grpSp>
      <p:sp>
        <p:nvSpPr>
          <p:cNvPr id="13" name="Номер слайда 3">
            <a:extLst>
              <a:ext uri="{FF2B5EF4-FFF2-40B4-BE49-F238E27FC236}">
                <a16:creationId xmlns:a16="http://schemas.microsoft.com/office/drawing/2014/main" id="{248CF6EF-119E-5245-9FEE-49AEAA6A28E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9532058" y="592796"/>
            <a:ext cx="328161" cy="210318"/>
          </a:xfrm>
        </p:spPr>
        <p:txBody>
          <a:bodyPr lIns="0" tIns="0" rIns="0" bIns="0"/>
          <a:lstStyle>
            <a:lvl1pPr algn="ctr">
              <a:defRPr sz="805">
                <a:solidFill>
                  <a:schemeClr val="bg1"/>
                </a:solidFill>
              </a:defRPr>
            </a:lvl1pPr>
          </a:lstStyle>
          <a:p>
            <a:fld id="{77CCD23E-997B-4E57-B2D9-5E2603462AC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3AA1F1C-934D-4781-B18B-4A09ED4E01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941" y="531159"/>
            <a:ext cx="7011165" cy="802309"/>
          </a:xfrm>
        </p:spPr>
        <p:txBody>
          <a:bodyPr lIns="0" tIns="0" rIns="0" bIns="0" anchor="t">
            <a:noAutofit/>
          </a:bodyPr>
          <a:lstStyle>
            <a:lvl1pPr algn="l">
              <a:defRPr sz="2012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21" name="Рисунок 5"/>
          <p:cNvSpPr>
            <a:spLocks noGrp="1"/>
          </p:cNvSpPr>
          <p:nvPr>
            <p:ph type="pic" sz="quarter" idx="19"/>
          </p:nvPr>
        </p:nvSpPr>
        <p:spPr>
          <a:xfrm>
            <a:off x="3459190" y="1988800"/>
            <a:ext cx="5238330" cy="3888540"/>
          </a:xfrm>
          <a:prstGeom prst="roundRect">
            <a:avLst>
              <a:gd name="adj" fmla="val 3261"/>
            </a:avLst>
          </a:prstGeom>
        </p:spPr>
        <p:txBody>
          <a:bodyPr/>
          <a:lstStyle/>
          <a:p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21" hasCustomPrompt="1"/>
          </p:nvPr>
        </p:nvSpPr>
        <p:spPr>
          <a:xfrm>
            <a:off x="574844" y="1786891"/>
            <a:ext cx="2289865" cy="1834550"/>
          </a:xfrm>
        </p:spPr>
        <p:txBody>
          <a:bodyPr lIns="0" tIns="0" rIns="0" bIns="0">
            <a:normAutofit/>
          </a:bodyPr>
          <a:lstStyle>
            <a:lvl1pPr marL="0" marR="0" indent="0" algn="l" defTabSz="12204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939"/>
            </a:lvl1pPr>
          </a:lstStyle>
          <a:p>
            <a:pPr marL="0" marR="0" lvl="0" indent="0" algn="l" defTabSz="12204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939" dirty="0"/>
              <a:t>Работы, проведенные отделом управления клиентской аналитики, </a:t>
            </a:r>
          </a:p>
          <a:p>
            <a:pPr marL="0" marR="0" lvl="0" indent="0" algn="l" defTabSz="12204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939" dirty="0"/>
              <a:t>для проекта</a:t>
            </a:r>
          </a:p>
          <a:p>
            <a:pPr lvl="0"/>
            <a:endParaRPr lang="ru-RU" dirty="0"/>
          </a:p>
        </p:txBody>
      </p:sp>
      <p:pic>
        <p:nvPicPr>
          <p:cNvPr id="19" name="Picture 5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29312" y="618792"/>
            <a:ext cx="1418746" cy="1821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509840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окап ноутбу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3" descr="C:\Users\Ольга\Google Диск\_Проекты\VM135 Шаблон презентации ПР\02 дизайн\слайды\ноут-19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88821" y="1208830"/>
            <a:ext cx="7273010" cy="52624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Группа 14"/>
          <p:cNvGrpSpPr/>
          <p:nvPr userDrawn="1"/>
        </p:nvGrpSpPr>
        <p:grpSpPr>
          <a:xfrm>
            <a:off x="9534005" y="592796"/>
            <a:ext cx="371996" cy="210318"/>
            <a:chOff x="17451741" y="889487"/>
            <a:chExt cx="684138" cy="313578"/>
          </a:xfrm>
        </p:grpSpPr>
        <p:sp>
          <p:nvSpPr>
            <p:cNvPr id="16" name="Прямоугольник 15"/>
            <p:cNvSpPr/>
            <p:nvPr/>
          </p:nvSpPr>
          <p:spPr>
            <a:xfrm>
              <a:off x="17451741" y="889487"/>
              <a:ext cx="680558" cy="31357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15" dirty="0"/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18055263" y="889487"/>
              <a:ext cx="80616" cy="31357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15" dirty="0"/>
            </a:p>
          </p:txBody>
        </p:sp>
      </p:grpSp>
      <p:sp>
        <p:nvSpPr>
          <p:cNvPr id="12" name="Номер слайда 3">
            <a:extLst>
              <a:ext uri="{FF2B5EF4-FFF2-40B4-BE49-F238E27FC236}">
                <a16:creationId xmlns:a16="http://schemas.microsoft.com/office/drawing/2014/main" id="{2B7661B4-0F67-1D4A-8E26-2FCAA047C01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9532058" y="592796"/>
            <a:ext cx="328161" cy="210318"/>
          </a:xfrm>
        </p:spPr>
        <p:txBody>
          <a:bodyPr lIns="0" tIns="0" rIns="0" bIns="0"/>
          <a:lstStyle>
            <a:lvl1pPr algn="ctr">
              <a:defRPr sz="805">
                <a:solidFill>
                  <a:schemeClr val="bg1"/>
                </a:solidFill>
              </a:defRPr>
            </a:lvl1pPr>
          </a:lstStyle>
          <a:p>
            <a:fld id="{77CCD23E-997B-4E57-B2D9-5E2603462AC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583F64F-2402-4C0D-9BB5-79CBB64030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942" y="531160"/>
            <a:ext cx="6801876" cy="754011"/>
          </a:xfrm>
        </p:spPr>
        <p:txBody>
          <a:bodyPr lIns="0" tIns="0" rIns="0" bIns="0" anchor="t">
            <a:noAutofit/>
          </a:bodyPr>
          <a:lstStyle>
            <a:lvl1pPr algn="l">
              <a:defRPr sz="2012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22" name="Рисунок 4"/>
          <p:cNvSpPr>
            <a:spLocks noGrp="1"/>
          </p:cNvSpPr>
          <p:nvPr>
            <p:ph type="pic" sz="quarter" idx="18"/>
          </p:nvPr>
        </p:nvSpPr>
        <p:spPr>
          <a:xfrm>
            <a:off x="3152750" y="2017745"/>
            <a:ext cx="5112710" cy="3358037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13" name="Текст 8"/>
          <p:cNvSpPr>
            <a:spLocks noGrp="1"/>
          </p:cNvSpPr>
          <p:nvPr>
            <p:ph type="body" sz="quarter" idx="21" hasCustomPrompt="1"/>
          </p:nvPr>
        </p:nvSpPr>
        <p:spPr>
          <a:xfrm>
            <a:off x="574844" y="1786891"/>
            <a:ext cx="2087251" cy="1834550"/>
          </a:xfrm>
        </p:spPr>
        <p:txBody>
          <a:bodyPr lIns="0" tIns="0" rIns="0" bIns="0">
            <a:normAutofit/>
          </a:bodyPr>
          <a:lstStyle>
            <a:lvl1pPr marL="0" marR="0" indent="0" algn="l" defTabSz="12204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939"/>
            </a:lvl1pPr>
          </a:lstStyle>
          <a:p>
            <a:pPr marL="0" marR="0" lvl="0" indent="0" algn="l" defTabSz="12204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939" dirty="0"/>
              <a:t>Работы, проведенные отделом управления клиентской аналитики, </a:t>
            </a:r>
          </a:p>
          <a:p>
            <a:pPr marL="0" marR="0" lvl="0" indent="0" algn="l" defTabSz="12204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939" dirty="0"/>
              <a:t>для проекта</a:t>
            </a:r>
          </a:p>
          <a:p>
            <a:pPr lvl="0"/>
            <a:endParaRPr lang="ru-RU" dirty="0"/>
          </a:p>
        </p:txBody>
      </p:sp>
      <p:pic>
        <p:nvPicPr>
          <p:cNvPr id="19" name="Picture 5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29312" y="618792"/>
            <a:ext cx="1418746" cy="1821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1672161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2 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4"/>
          <p:cNvSpPr>
            <a:spLocks noGrp="1"/>
          </p:cNvSpPr>
          <p:nvPr>
            <p:ph type="pic" sz="quarter" idx="10"/>
          </p:nvPr>
        </p:nvSpPr>
        <p:spPr>
          <a:xfrm>
            <a:off x="489334" y="1385169"/>
            <a:ext cx="2819284" cy="5471766"/>
          </a:xfrm>
        </p:spPr>
        <p:txBody>
          <a:bodyPr/>
          <a:lstStyle/>
          <a:p>
            <a:endParaRPr lang="ru-RU" dirty="0"/>
          </a:p>
        </p:txBody>
      </p:sp>
      <p:pic>
        <p:nvPicPr>
          <p:cNvPr id="6" name="Picture 5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334" y="738965"/>
            <a:ext cx="1414741" cy="2240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Заголовок 2"/>
          <p:cNvSpPr>
            <a:spLocks noGrp="1"/>
          </p:cNvSpPr>
          <p:nvPr>
            <p:ph type="title" hasCustomPrompt="1"/>
          </p:nvPr>
        </p:nvSpPr>
        <p:spPr>
          <a:xfrm>
            <a:off x="3504266" y="1372788"/>
            <a:ext cx="4346472" cy="2056212"/>
          </a:xfrm>
        </p:spPr>
        <p:txBody>
          <a:bodyPr lIns="0" tIns="0" rIns="0" bIns="0" anchor="t"/>
          <a:lstStyle>
            <a:lvl1pPr algn="l">
              <a:defRPr/>
            </a:lvl1pPr>
          </a:lstStyle>
          <a:p>
            <a:r>
              <a:rPr lang="ru-RU" sz="2610" b="1" dirty="0"/>
              <a:t>ОБЛОЖКА РАЗДЕЛА ПРЕЗЕНТАЦИИ 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489334" y="1352215"/>
            <a:ext cx="189422" cy="3066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375"/>
          </a:p>
        </p:txBody>
      </p:sp>
      <p:sp>
        <p:nvSpPr>
          <p:cNvPr id="11" name="Rectangle 10"/>
          <p:cNvSpPr/>
          <p:nvPr userDrawn="1"/>
        </p:nvSpPr>
        <p:spPr>
          <a:xfrm>
            <a:off x="678067" y="1352215"/>
            <a:ext cx="2630424" cy="306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375"/>
          </a:p>
        </p:txBody>
      </p:sp>
    </p:spTree>
    <p:extLst>
      <p:ext uri="{BB962C8B-B14F-4D97-AF65-F5344CB8AC3E}">
        <p14:creationId xmlns:p14="http://schemas.microsoft.com/office/powerpoint/2010/main" val="182690608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2 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4"/>
          <p:cNvSpPr>
            <a:spLocks noGrp="1"/>
          </p:cNvSpPr>
          <p:nvPr>
            <p:ph type="pic" sz="quarter" idx="10"/>
          </p:nvPr>
        </p:nvSpPr>
        <p:spPr>
          <a:xfrm>
            <a:off x="489334" y="1385169"/>
            <a:ext cx="2819284" cy="5471766"/>
          </a:xfrm>
        </p:spPr>
        <p:txBody>
          <a:bodyPr/>
          <a:lstStyle/>
          <a:p>
            <a:endParaRPr lang="ru-RU" dirty="0"/>
          </a:p>
        </p:txBody>
      </p:sp>
      <p:pic>
        <p:nvPicPr>
          <p:cNvPr id="6" name="Picture 5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334" y="738965"/>
            <a:ext cx="1414741" cy="2240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Заголовок 2"/>
          <p:cNvSpPr>
            <a:spLocks noGrp="1"/>
          </p:cNvSpPr>
          <p:nvPr>
            <p:ph type="title" hasCustomPrompt="1"/>
          </p:nvPr>
        </p:nvSpPr>
        <p:spPr>
          <a:xfrm>
            <a:off x="3504266" y="1372788"/>
            <a:ext cx="4346472" cy="2056212"/>
          </a:xfrm>
        </p:spPr>
        <p:txBody>
          <a:bodyPr lIns="0" tIns="0" rIns="0" bIns="0" anchor="t"/>
          <a:lstStyle>
            <a:lvl1pPr algn="l">
              <a:defRPr/>
            </a:lvl1pPr>
          </a:lstStyle>
          <a:p>
            <a:r>
              <a:rPr lang="ru-RU" sz="2610" b="1" dirty="0"/>
              <a:t>ОБЛОЖКА РАЗДЕЛА ПРЕЗЕНТАЦИИ 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489334" y="1352215"/>
            <a:ext cx="189422" cy="3066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375"/>
          </a:p>
        </p:txBody>
      </p:sp>
      <p:sp>
        <p:nvSpPr>
          <p:cNvPr id="11" name="Rectangle 10"/>
          <p:cNvSpPr/>
          <p:nvPr userDrawn="1"/>
        </p:nvSpPr>
        <p:spPr>
          <a:xfrm>
            <a:off x="678067" y="1352215"/>
            <a:ext cx="2630424" cy="306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375"/>
          </a:p>
        </p:txBody>
      </p:sp>
    </p:spTree>
    <p:extLst>
      <p:ext uri="{BB962C8B-B14F-4D97-AF65-F5344CB8AC3E}">
        <p14:creationId xmlns:p14="http://schemas.microsoft.com/office/powerpoint/2010/main" val="42037979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 userDrawn="1">
            <p:custDataLst>
              <p:tags r:id="rId1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" name="think-cell Slide" r:id="rId13" imgW="378" imgH="379" progId="TCLayout.ActiveDocument.1">
                  <p:embed/>
                </p:oleObj>
              </mc:Choice>
              <mc:Fallback>
                <p:oleObj name="think-cell Slide" r:id="rId13" imgW="378" imgH="379" progId="TCLayout.ActiveDocument.1">
                  <p:embed/>
                  <p:pic>
                    <p:nvPicPr>
                      <p:cNvPr id="9" name="Объект 8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1" y="274638"/>
            <a:ext cx="8915400" cy="1143000"/>
          </a:xfrm>
          <a:prstGeom prst="rect">
            <a:avLst/>
          </a:prstGeom>
        </p:spPr>
        <p:txBody>
          <a:bodyPr vert="horz" lIns="181964" tIns="90983" rIns="181964" bIns="90983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1" y="1600202"/>
            <a:ext cx="8915400" cy="4525963"/>
          </a:xfrm>
          <a:prstGeom prst="rect">
            <a:avLst/>
          </a:prstGeom>
        </p:spPr>
        <p:txBody>
          <a:bodyPr vert="horz" lIns="181964" tIns="90983" rIns="181964" bIns="90983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 vert="horz" lIns="181964" tIns="90983" rIns="181964" bIns="90983" rtlCol="0" anchor="ctr"/>
          <a:lstStyle>
            <a:lvl1pPr algn="l">
              <a:defRPr sz="161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384551" y="6356351"/>
            <a:ext cx="3136900" cy="365125"/>
          </a:xfrm>
          <a:prstGeom prst="rect">
            <a:avLst/>
          </a:prstGeom>
        </p:spPr>
        <p:txBody>
          <a:bodyPr vert="horz" lIns="181964" tIns="90983" rIns="181964" bIns="90983" rtlCol="0" anchor="ctr"/>
          <a:lstStyle>
            <a:lvl1pPr algn="ctr">
              <a:defRPr sz="161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 vert="horz" lIns="181964" tIns="90983" rIns="181964" bIns="90983" rtlCol="0" anchor="ctr"/>
          <a:lstStyle>
            <a:lvl1pPr algn="r">
              <a:defRPr sz="161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7CCD23E-997B-4E57-B2D9-5E2603462AC4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674321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659" r:id="rId2"/>
    <p:sldLayoutId id="2147483660" r:id="rId3"/>
    <p:sldLayoutId id="2147483661" r:id="rId4"/>
    <p:sldLayoutId id="2147483662" r:id="rId5"/>
    <p:sldLayoutId id="2147483663" r:id="rId6"/>
    <p:sldLayoutId id="2147483664" r:id="rId7"/>
    <p:sldLayoutId id="2147483665" r:id="rId8"/>
    <p:sldLayoutId id="2147483666" r:id="rId9"/>
  </p:sldLayoutIdLst>
  <p:hf hdr="0" ftr="0" dt="0"/>
  <p:txStyles>
    <p:titleStyle>
      <a:lvl1pPr algn="ctr" defTabSz="1220432" rtl="0" eaLnBrk="1" latinLnBrk="0" hangingPunct="1">
        <a:spcBef>
          <a:spcPct val="0"/>
        </a:spcBef>
        <a:buNone/>
        <a:defRPr sz="3219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663" indent="-457663" algn="l" defTabSz="1220432" rtl="0" eaLnBrk="1" latinLnBrk="0" hangingPunct="1">
        <a:spcBef>
          <a:spcPct val="20000"/>
        </a:spcBef>
        <a:buFont typeface="Arial" panose="020B0604020202020204" pitchFamily="34" charset="0"/>
        <a:buChar char="•"/>
        <a:defRPr sz="2616" kern="1200">
          <a:solidFill>
            <a:schemeClr val="tx1"/>
          </a:solidFill>
          <a:latin typeface="+mn-lt"/>
          <a:ea typeface="+mn-ea"/>
          <a:cs typeface="+mn-cs"/>
        </a:defRPr>
      </a:lvl1pPr>
      <a:lvl2pPr marL="991600" indent="-381383" algn="l" defTabSz="1220432" rtl="0" eaLnBrk="1" latinLnBrk="0" hangingPunct="1">
        <a:spcBef>
          <a:spcPct val="20000"/>
        </a:spcBef>
        <a:buFont typeface="Arial" panose="020B0604020202020204" pitchFamily="34" charset="0"/>
        <a:buChar char="–"/>
        <a:defRPr sz="2415" kern="1200">
          <a:solidFill>
            <a:schemeClr val="tx1"/>
          </a:solidFill>
          <a:latin typeface="+mn-lt"/>
          <a:ea typeface="+mn-ea"/>
          <a:cs typeface="+mn-cs"/>
        </a:defRPr>
      </a:lvl2pPr>
      <a:lvl3pPr marL="1525538" indent="-305107" algn="l" defTabSz="1220432" rtl="0" eaLnBrk="1" latinLnBrk="0" hangingPunct="1">
        <a:spcBef>
          <a:spcPct val="20000"/>
        </a:spcBef>
        <a:buFont typeface="Arial" panose="020B0604020202020204" pitchFamily="34" charset="0"/>
        <a:buChar char="•"/>
        <a:defRPr sz="2146" kern="1200">
          <a:solidFill>
            <a:schemeClr val="tx1"/>
          </a:solidFill>
          <a:latin typeface="+mn-lt"/>
          <a:ea typeface="+mn-ea"/>
          <a:cs typeface="+mn-cs"/>
        </a:defRPr>
      </a:lvl3pPr>
      <a:lvl4pPr marL="2135756" indent="-305107" algn="l" defTabSz="1220432" rtl="0" eaLnBrk="1" latinLnBrk="0" hangingPunct="1">
        <a:spcBef>
          <a:spcPct val="20000"/>
        </a:spcBef>
        <a:buFont typeface="Arial" panose="020B0604020202020204" pitchFamily="34" charset="0"/>
        <a:buChar char="–"/>
        <a:defRPr sz="1878" kern="1200">
          <a:solidFill>
            <a:schemeClr val="tx1"/>
          </a:solidFill>
          <a:latin typeface="+mn-lt"/>
          <a:ea typeface="+mn-ea"/>
          <a:cs typeface="+mn-cs"/>
        </a:defRPr>
      </a:lvl4pPr>
      <a:lvl5pPr marL="2745970" indent="-305107" algn="l" defTabSz="1220432" rtl="0" eaLnBrk="1" latinLnBrk="0" hangingPunct="1">
        <a:spcBef>
          <a:spcPct val="20000"/>
        </a:spcBef>
        <a:buFont typeface="Arial" panose="020B0604020202020204" pitchFamily="34" charset="0"/>
        <a:buChar char="»"/>
        <a:defRPr sz="1878" kern="1200">
          <a:solidFill>
            <a:schemeClr val="tx1"/>
          </a:solidFill>
          <a:latin typeface="+mn-lt"/>
          <a:ea typeface="+mn-ea"/>
          <a:cs typeface="+mn-cs"/>
        </a:defRPr>
      </a:lvl5pPr>
      <a:lvl6pPr marL="3356187" indent="-305107" algn="l" defTabSz="1220432" rtl="0" eaLnBrk="1" latinLnBrk="0" hangingPunct="1">
        <a:spcBef>
          <a:spcPct val="20000"/>
        </a:spcBef>
        <a:buFont typeface="Arial" panose="020B0604020202020204" pitchFamily="34" charset="0"/>
        <a:buChar char="•"/>
        <a:defRPr sz="2683" kern="1200">
          <a:solidFill>
            <a:schemeClr val="tx1"/>
          </a:solidFill>
          <a:latin typeface="+mn-lt"/>
          <a:ea typeface="+mn-ea"/>
          <a:cs typeface="+mn-cs"/>
        </a:defRPr>
      </a:lvl6pPr>
      <a:lvl7pPr marL="3966402" indent="-305107" algn="l" defTabSz="1220432" rtl="0" eaLnBrk="1" latinLnBrk="0" hangingPunct="1">
        <a:spcBef>
          <a:spcPct val="20000"/>
        </a:spcBef>
        <a:buFont typeface="Arial" panose="020B0604020202020204" pitchFamily="34" charset="0"/>
        <a:buChar char="•"/>
        <a:defRPr sz="2683" kern="1200">
          <a:solidFill>
            <a:schemeClr val="tx1"/>
          </a:solidFill>
          <a:latin typeface="+mn-lt"/>
          <a:ea typeface="+mn-ea"/>
          <a:cs typeface="+mn-cs"/>
        </a:defRPr>
      </a:lvl7pPr>
      <a:lvl8pPr marL="4576619" indent="-305107" algn="l" defTabSz="1220432" rtl="0" eaLnBrk="1" latinLnBrk="0" hangingPunct="1">
        <a:spcBef>
          <a:spcPct val="20000"/>
        </a:spcBef>
        <a:buFont typeface="Arial" panose="020B0604020202020204" pitchFamily="34" charset="0"/>
        <a:buChar char="•"/>
        <a:defRPr sz="2683" kern="1200">
          <a:solidFill>
            <a:schemeClr val="tx1"/>
          </a:solidFill>
          <a:latin typeface="+mn-lt"/>
          <a:ea typeface="+mn-ea"/>
          <a:cs typeface="+mn-cs"/>
        </a:defRPr>
      </a:lvl8pPr>
      <a:lvl9pPr marL="5186834" indent="-305107" algn="l" defTabSz="1220432" rtl="0" eaLnBrk="1" latinLnBrk="0" hangingPunct="1">
        <a:spcBef>
          <a:spcPct val="20000"/>
        </a:spcBef>
        <a:buFont typeface="Arial" panose="020B0604020202020204" pitchFamily="34" charset="0"/>
        <a:buChar char="•"/>
        <a:defRPr sz="268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220432" rtl="0" eaLnBrk="1" latinLnBrk="0" hangingPunct="1">
        <a:defRPr sz="2415" kern="1200">
          <a:solidFill>
            <a:schemeClr val="tx1"/>
          </a:solidFill>
          <a:latin typeface="+mn-lt"/>
          <a:ea typeface="+mn-ea"/>
          <a:cs typeface="+mn-cs"/>
        </a:defRPr>
      </a:lvl1pPr>
      <a:lvl2pPr marL="610216" algn="l" defTabSz="1220432" rtl="0" eaLnBrk="1" latinLnBrk="0" hangingPunct="1">
        <a:defRPr sz="2415" kern="1200">
          <a:solidFill>
            <a:schemeClr val="tx1"/>
          </a:solidFill>
          <a:latin typeface="+mn-lt"/>
          <a:ea typeface="+mn-ea"/>
          <a:cs typeface="+mn-cs"/>
        </a:defRPr>
      </a:lvl2pPr>
      <a:lvl3pPr marL="1220432" algn="l" defTabSz="1220432" rtl="0" eaLnBrk="1" latinLnBrk="0" hangingPunct="1">
        <a:defRPr sz="2415" kern="1200">
          <a:solidFill>
            <a:schemeClr val="tx1"/>
          </a:solidFill>
          <a:latin typeface="+mn-lt"/>
          <a:ea typeface="+mn-ea"/>
          <a:cs typeface="+mn-cs"/>
        </a:defRPr>
      </a:lvl3pPr>
      <a:lvl4pPr marL="1830647" algn="l" defTabSz="1220432" rtl="0" eaLnBrk="1" latinLnBrk="0" hangingPunct="1">
        <a:defRPr sz="2415" kern="1200">
          <a:solidFill>
            <a:schemeClr val="tx1"/>
          </a:solidFill>
          <a:latin typeface="+mn-lt"/>
          <a:ea typeface="+mn-ea"/>
          <a:cs typeface="+mn-cs"/>
        </a:defRPr>
      </a:lvl4pPr>
      <a:lvl5pPr marL="2440862" algn="l" defTabSz="1220432" rtl="0" eaLnBrk="1" latinLnBrk="0" hangingPunct="1">
        <a:defRPr sz="2415" kern="1200">
          <a:solidFill>
            <a:schemeClr val="tx1"/>
          </a:solidFill>
          <a:latin typeface="+mn-lt"/>
          <a:ea typeface="+mn-ea"/>
          <a:cs typeface="+mn-cs"/>
        </a:defRPr>
      </a:lvl5pPr>
      <a:lvl6pPr marL="3051080" algn="l" defTabSz="1220432" rtl="0" eaLnBrk="1" latinLnBrk="0" hangingPunct="1">
        <a:defRPr sz="2415" kern="1200">
          <a:solidFill>
            <a:schemeClr val="tx1"/>
          </a:solidFill>
          <a:latin typeface="+mn-lt"/>
          <a:ea typeface="+mn-ea"/>
          <a:cs typeface="+mn-cs"/>
        </a:defRPr>
      </a:lvl6pPr>
      <a:lvl7pPr marL="3661293" algn="l" defTabSz="1220432" rtl="0" eaLnBrk="1" latinLnBrk="0" hangingPunct="1">
        <a:defRPr sz="2415" kern="1200">
          <a:solidFill>
            <a:schemeClr val="tx1"/>
          </a:solidFill>
          <a:latin typeface="+mn-lt"/>
          <a:ea typeface="+mn-ea"/>
          <a:cs typeface="+mn-cs"/>
        </a:defRPr>
      </a:lvl7pPr>
      <a:lvl8pPr marL="4271509" algn="l" defTabSz="1220432" rtl="0" eaLnBrk="1" latinLnBrk="0" hangingPunct="1">
        <a:defRPr sz="2415" kern="1200">
          <a:solidFill>
            <a:schemeClr val="tx1"/>
          </a:solidFill>
          <a:latin typeface="+mn-lt"/>
          <a:ea typeface="+mn-ea"/>
          <a:cs typeface="+mn-cs"/>
        </a:defRPr>
      </a:lvl8pPr>
      <a:lvl9pPr marL="4881725" algn="l" defTabSz="1220432" rtl="0" eaLnBrk="1" latinLnBrk="0" hangingPunct="1">
        <a:defRPr sz="24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52">
          <p15:clr>
            <a:srgbClr val="F26B43"/>
          </p15:clr>
        </p15:guide>
        <p15:guide id="3" pos="714">
          <p15:clr>
            <a:srgbClr val="F26B43"/>
          </p15:clr>
        </p15:guide>
        <p15:guide id="4" pos="5888">
          <p15:clr>
            <a:srgbClr val="F26B43"/>
          </p15:clr>
        </p15:guide>
        <p15:guide id="5" pos="5526">
          <p15:clr>
            <a:srgbClr val="F26B43"/>
          </p15:clr>
        </p15:guide>
        <p15:guide id="6" pos="5328">
          <p15:clr>
            <a:srgbClr val="F26B43"/>
          </p15:clr>
        </p15:guide>
        <p15:guide id="7" pos="4966">
          <p15:clr>
            <a:srgbClr val="F26B43"/>
          </p15:clr>
        </p15:guide>
        <p15:guide id="8" pos="4768">
          <p15:clr>
            <a:srgbClr val="F26B43"/>
          </p15:clr>
        </p15:guide>
        <p15:guide id="9" pos="4373">
          <p15:clr>
            <a:srgbClr val="F26B43"/>
          </p15:clr>
        </p15:guide>
        <p15:guide id="10" pos="4175">
          <p15:clr>
            <a:srgbClr val="F26B43"/>
          </p15:clr>
        </p15:guide>
        <p15:guide id="11" pos="3812">
          <p15:clr>
            <a:srgbClr val="F26B43"/>
          </p15:clr>
        </p15:guide>
        <p15:guide id="12" pos="3581">
          <p15:clr>
            <a:srgbClr val="F26B43"/>
          </p15:clr>
        </p15:guide>
        <p15:guide id="13" pos="3219">
          <p15:clr>
            <a:srgbClr val="F26B43"/>
          </p15:clr>
        </p15:guide>
        <p15:guide id="14" pos="3021">
          <p15:clr>
            <a:srgbClr val="F26B43"/>
          </p15:clr>
        </p15:guide>
        <p15:guide id="15" pos="2659">
          <p15:clr>
            <a:srgbClr val="F26B43"/>
          </p15:clr>
        </p15:guide>
        <p15:guide id="16" pos="2428">
          <p15:clr>
            <a:srgbClr val="F26B43"/>
          </p15:clr>
        </p15:guide>
        <p15:guide id="17" pos="2065">
          <p15:clr>
            <a:srgbClr val="F26B43"/>
          </p15:clr>
        </p15:guide>
        <p15:guide id="18" pos="1867">
          <p15:clr>
            <a:srgbClr val="F26B43"/>
          </p15:clr>
        </p15:guide>
        <p15:guide id="19" pos="1472">
          <p15:clr>
            <a:srgbClr val="F26B43"/>
          </p15:clr>
        </p15:guide>
        <p15:guide id="20" pos="1274">
          <p15:clr>
            <a:srgbClr val="F26B43"/>
          </p15:clr>
        </p15:guide>
        <p15:guide id="21" pos="91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play.google.com/store/apps/details?id=ru.gosuslugi.culture" TargetMode="External"/><Relationship Id="rId7" Type="http://schemas.openxmlformats.org/officeDocument/2006/relationships/image" Target="../media/image11.png"/><Relationship Id="rId2" Type="http://schemas.openxmlformats.org/officeDocument/2006/relationships/hyperlink" Target="https://apps.apple.com/ru/app/id1581979387" TargetMode="External"/><Relationship Id="rId1" Type="http://schemas.openxmlformats.org/officeDocument/2006/relationships/slideLayout" Target="../slideLayouts/slideLayout3.xml"/><Relationship Id="rId6" Type="http://schemas.openxmlformats.org/officeDocument/2006/relationships/hyperlink" Target="https://www.pochtabank.ru/map" TargetMode="External"/><Relationship Id="rId5" Type="http://schemas.openxmlformats.org/officeDocument/2006/relationships/hyperlink" Target="https://culture.gosuslugi.ru/" TargetMode="External"/><Relationship Id="rId4" Type="http://schemas.openxmlformats.org/officeDocument/2006/relationships/hyperlink" Target="https://appgallery.huawei.com/app/C104662065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7CCD23E-997B-4E57-B2D9-5E2603462AC4}" type="slidenum">
              <a:rPr lang="ru-RU" smtClean="0"/>
              <a:pPr/>
              <a:t>1</a:t>
            </a:fld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376407" y="805955"/>
            <a:ext cx="9281405" cy="506691"/>
          </a:xfrm>
        </p:spPr>
        <p:txBody>
          <a:bodyPr/>
          <a:lstStyle/>
          <a:p>
            <a:r>
              <a:rPr lang="ru-RU" sz="1600" b="0" dirty="0">
                <a:solidFill>
                  <a:schemeClr val="accent1">
                    <a:lumMod val="50000"/>
                  </a:schemeClr>
                </a:solidFill>
              </a:rPr>
              <a:t>Подтверждение личности это полный доступ ко всем </a:t>
            </a:r>
            <a:r>
              <a:rPr lang="ru-RU" sz="1600" b="0" dirty="0" smtClean="0">
                <a:solidFill>
                  <a:schemeClr val="accent1">
                    <a:lumMod val="50000"/>
                  </a:schemeClr>
                </a:solidFill>
              </a:rPr>
              <a:t>услугам </a:t>
            </a:r>
            <a:r>
              <a:rPr lang="ru-RU" sz="1600" b="0" dirty="0">
                <a:solidFill>
                  <a:schemeClr val="accent1">
                    <a:lumMod val="50000"/>
                  </a:schemeClr>
                </a:solidFill>
              </a:rPr>
              <a:t>портала </a:t>
            </a:r>
            <a:r>
              <a:rPr lang="ru-RU" sz="1600" b="0" dirty="0" err="1" smtClean="0">
                <a:solidFill>
                  <a:schemeClr val="accent1">
                    <a:lumMod val="50000"/>
                  </a:schemeClr>
                </a:solidFill>
              </a:rPr>
              <a:t>Госуслуг</a:t>
            </a:r>
            <a:r>
              <a:rPr lang="ru-RU" sz="1600" b="0" dirty="0" smtClean="0">
                <a:solidFill>
                  <a:schemeClr val="accent1">
                    <a:lumMod val="50000"/>
                  </a:schemeClr>
                </a:solidFill>
              </a:rPr>
              <a:t/>
            </a:r>
            <a:br>
              <a:rPr lang="ru-RU" sz="1600" b="0" dirty="0" smtClean="0">
                <a:solidFill>
                  <a:schemeClr val="accent1">
                    <a:lumMod val="50000"/>
                  </a:schemeClr>
                </a:solidFill>
              </a:rPr>
            </a:br>
            <a:r>
              <a:rPr lang="ru-RU" sz="1600" b="0" dirty="0" smtClean="0">
                <a:solidFill>
                  <a:schemeClr val="accent1">
                    <a:lumMod val="50000"/>
                  </a:schemeClr>
                </a:solidFill>
              </a:rPr>
              <a:t>Подтверждать личность на портале </a:t>
            </a:r>
            <a:r>
              <a:rPr lang="ru-RU" sz="1600" b="0" dirty="0" err="1" smtClean="0">
                <a:solidFill>
                  <a:schemeClr val="accent1">
                    <a:lumMod val="50000"/>
                  </a:schemeClr>
                </a:solidFill>
              </a:rPr>
              <a:t>Госуслуг</a:t>
            </a:r>
            <a:r>
              <a:rPr lang="ru-RU" sz="1600" b="0" dirty="0" smtClean="0">
                <a:solidFill>
                  <a:schemeClr val="accent1">
                    <a:lumMod val="50000"/>
                  </a:schemeClr>
                </a:solidFill>
              </a:rPr>
              <a:t> можно самостоятельно с 14 лет</a:t>
            </a:r>
            <a:r>
              <a:rPr lang="ru-RU" b="0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endParaRPr lang="ru-RU" b="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336935" y="1808489"/>
            <a:ext cx="4256016" cy="1015663"/>
          </a:xfrm>
          <a:prstGeom prst="rect">
            <a:avLst/>
          </a:prstGeom>
          <a:ln>
            <a:solidFill>
              <a:schemeClr val="tx2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 defTabSz="1475103">
              <a:buClr>
                <a:srgbClr val="FF8200"/>
              </a:buClr>
            </a:pPr>
            <a:r>
              <a:rPr lang="ru-RU" sz="1200" dirty="0">
                <a:solidFill>
                  <a:srgbClr val="253779"/>
                </a:solidFill>
              </a:rPr>
              <a:t>Для сельского школьника номинал Пушкинской карты в 5000 рублей- это уникальная возможность </a:t>
            </a:r>
            <a:r>
              <a:rPr lang="ru-RU" sz="1200" dirty="0" smtClean="0">
                <a:solidFill>
                  <a:srgbClr val="253779"/>
                </a:solidFill>
              </a:rPr>
              <a:t>бесплатно </a:t>
            </a:r>
            <a:r>
              <a:rPr lang="ru-RU" sz="1200" dirty="0">
                <a:solidFill>
                  <a:srgbClr val="253779"/>
                </a:solidFill>
              </a:rPr>
              <a:t>посещать </a:t>
            </a:r>
            <a:r>
              <a:rPr lang="ru-RU" sz="1200" dirty="0" smtClean="0">
                <a:solidFill>
                  <a:srgbClr val="253779"/>
                </a:solidFill>
              </a:rPr>
              <a:t>театры</a:t>
            </a:r>
            <a:r>
              <a:rPr lang="ru-RU" sz="1200" dirty="0">
                <a:solidFill>
                  <a:srgbClr val="253779"/>
                </a:solidFill>
              </a:rPr>
              <a:t>, кинотеатры, музеи, выставки, филармонии и другие учреждения </a:t>
            </a:r>
            <a:r>
              <a:rPr lang="ru-RU" sz="1200" dirty="0" smtClean="0">
                <a:solidFill>
                  <a:srgbClr val="253779"/>
                </a:solidFill>
              </a:rPr>
              <a:t>культуры как своего района, так и по всей стране</a:t>
            </a:r>
            <a:endParaRPr lang="ru-RU" sz="1200" dirty="0">
              <a:solidFill>
                <a:srgbClr val="253779"/>
              </a:solidFill>
            </a:endParaRPr>
          </a:p>
        </p:txBody>
      </p:sp>
      <p:pic>
        <p:nvPicPr>
          <p:cNvPr id="2050" name="Picture 2" descr="В 2022 году &quot;Пушкинскую карту&quot; пополнили на 5000 рублей - Национальный  проект «Культура» -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360" y="2869980"/>
            <a:ext cx="4232591" cy="2327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Куда легче всего поступить на бюджет? ПрофГид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57352" y="2859834"/>
            <a:ext cx="4367106" cy="23476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Прямоугольник 11"/>
          <p:cNvSpPr/>
          <p:nvPr/>
        </p:nvSpPr>
        <p:spPr>
          <a:xfrm>
            <a:off x="4832182" y="1808489"/>
            <a:ext cx="5028037" cy="1015663"/>
          </a:xfrm>
          <a:prstGeom prst="rect">
            <a:avLst/>
          </a:prstGeom>
          <a:ln>
            <a:solidFill>
              <a:schemeClr val="tx2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 defTabSz="1475103">
              <a:buClr>
                <a:srgbClr val="FF8200"/>
              </a:buClr>
            </a:pPr>
            <a:r>
              <a:rPr lang="ru-RU" sz="1200" dirty="0" smtClean="0">
                <a:solidFill>
                  <a:srgbClr val="253779"/>
                </a:solidFill>
              </a:rPr>
              <a:t>Для сельского выпускника подать онлайн заявление на портале </a:t>
            </a:r>
            <a:r>
              <a:rPr lang="ru-RU" sz="1200" dirty="0" err="1" smtClean="0">
                <a:solidFill>
                  <a:srgbClr val="253779"/>
                </a:solidFill>
              </a:rPr>
              <a:t>Госуслуг</a:t>
            </a:r>
            <a:r>
              <a:rPr lang="ru-RU" sz="1200" dirty="0" smtClean="0">
                <a:solidFill>
                  <a:srgbClr val="253779"/>
                </a:solidFill>
              </a:rPr>
              <a:t> для поступления в пять ВУЗов страны- это возможность без дополнительных расходов на дорогу и проживание поступить в ведущие ВУЗы страны, </a:t>
            </a:r>
            <a:r>
              <a:rPr lang="ru-RU" sz="1200" b="1" dirty="0" smtClean="0">
                <a:solidFill>
                  <a:srgbClr val="253779"/>
                </a:solidFill>
              </a:rPr>
              <a:t>а также использовать при поступлении баллы за ГТО и баллы за часы волонтера.</a:t>
            </a:r>
            <a:endParaRPr lang="ru-RU" sz="1200" b="1" dirty="0">
              <a:solidFill>
                <a:srgbClr val="253779"/>
              </a:solidFill>
            </a:endParaRPr>
          </a:p>
        </p:txBody>
      </p:sp>
      <p:sp>
        <p:nvSpPr>
          <p:cNvPr id="13" name="Title 2"/>
          <p:cNvSpPr txBox="1">
            <a:spLocks/>
          </p:cNvSpPr>
          <p:nvPr/>
        </p:nvSpPr>
        <p:spPr>
          <a:xfrm>
            <a:off x="376407" y="306001"/>
            <a:ext cx="8666757" cy="80230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220432" rtl="0" eaLnBrk="1" latinLnBrk="0" hangingPunct="1">
              <a:spcBef>
                <a:spcPct val="0"/>
              </a:spcBef>
              <a:buNone/>
              <a:defRPr sz="2012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 smtClean="0"/>
              <a:t>Услуга ЕСИА в сельской местности</a:t>
            </a:r>
            <a:endParaRPr lang="ru-RU" dirty="0"/>
          </a:p>
        </p:txBody>
      </p:sp>
      <p:sp>
        <p:nvSpPr>
          <p:cNvPr id="6" name="AutoShape 6" descr="Галочка без фона - 38 фото"/>
          <p:cNvSpPr>
            <a:spLocks noChangeAspect="1" noChangeArrowheads="1"/>
          </p:cNvSpPr>
          <p:nvPr/>
        </p:nvSpPr>
        <p:spPr bwMode="auto">
          <a:xfrm>
            <a:off x="-1671920" y="1379515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9" name="AutoShape 8" descr="галочка скачать бесплатно - Галочка Компьютерные иконки клип-арт - Иконка Зеленая  Галочка 2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2058" name="Picture 10" descr="Зеленая галочка в круге. Выполнено иконка ПНГ на Прозрачном Фоне • Скачать  PNG Зеленая галочка в круге. Выполнено иконка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360" y="1510246"/>
            <a:ext cx="252415" cy="2524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0" descr="Зеленая галочка в круге. Выполнено иконка ПНГ на Прозрачном Фоне • Скачать  PNG Зеленая галочка в круге. Выполнено иконка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14642" y="1510246"/>
            <a:ext cx="252415" cy="2524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/>
          <p:cNvSpPr txBox="1"/>
          <p:nvPr/>
        </p:nvSpPr>
        <p:spPr>
          <a:xfrm>
            <a:off x="669461" y="1464433"/>
            <a:ext cx="203183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</a:rPr>
              <a:t>Пушкинская карта</a:t>
            </a:r>
            <a:endParaRPr lang="ru-RU" sz="16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5098317" y="1462229"/>
            <a:ext cx="315176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</a:rPr>
              <a:t>Онлайн-поступление в ВУЗы</a:t>
            </a:r>
            <a:endParaRPr lang="ru-RU" sz="16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20" name="Заголовок 2"/>
          <p:cNvSpPr txBox="1">
            <a:spLocks/>
          </p:cNvSpPr>
          <p:nvPr/>
        </p:nvSpPr>
        <p:spPr>
          <a:xfrm>
            <a:off x="307975" y="5445280"/>
            <a:ext cx="9281405" cy="10801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220432" rtl="0" eaLnBrk="1" latinLnBrk="0" hangingPunct="1">
              <a:spcBef>
                <a:spcPct val="0"/>
              </a:spcBef>
              <a:buNone/>
              <a:defRPr sz="2012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600" b="0" dirty="0" smtClean="0">
                <a:solidFill>
                  <a:schemeClr val="accent1">
                    <a:lumMod val="50000"/>
                  </a:schemeClr>
                </a:solidFill>
              </a:rPr>
              <a:t>Подтвердить личность на портале </a:t>
            </a:r>
            <a:r>
              <a:rPr lang="ru-RU" sz="1600" b="0" dirty="0" err="1" smtClean="0">
                <a:solidFill>
                  <a:schemeClr val="accent1">
                    <a:lumMod val="50000"/>
                  </a:schemeClr>
                </a:solidFill>
              </a:rPr>
              <a:t>Госуслуг</a:t>
            </a:r>
            <a:r>
              <a:rPr lang="ru-RU" sz="1600" b="0" dirty="0" smtClean="0">
                <a:solidFill>
                  <a:schemeClr val="accent1">
                    <a:lumMod val="50000"/>
                  </a:schemeClr>
                </a:solidFill>
              </a:rPr>
              <a:t> можно в </a:t>
            </a:r>
            <a:endParaRPr lang="ru-RU" sz="1600" b="0" dirty="0" smtClean="0">
              <a:solidFill>
                <a:schemeClr val="accent1">
                  <a:lumMod val="50000"/>
                </a:schemeClr>
              </a:solidFill>
            </a:endParaRPr>
          </a:p>
          <a:p>
            <a:r>
              <a:rPr lang="ru-RU" sz="1600" b="0" dirty="0" smtClean="0">
                <a:solidFill>
                  <a:schemeClr val="accent1">
                    <a:lumMod val="50000"/>
                  </a:schemeClr>
                </a:solidFill>
              </a:rPr>
              <a:t>ОПС </a:t>
            </a:r>
            <a:r>
              <a:rPr lang="ru-RU" sz="1600" b="0" u="sng" dirty="0" smtClean="0">
                <a:solidFill>
                  <a:schemeClr val="accent1">
                    <a:lumMod val="50000"/>
                  </a:schemeClr>
                </a:solidFill>
              </a:rPr>
              <a:t>305502 Клюква </a:t>
            </a:r>
            <a:r>
              <a:rPr lang="ru-RU" sz="1600" b="0" dirty="0" smtClean="0">
                <a:solidFill>
                  <a:schemeClr val="accent1">
                    <a:lumMod val="50000"/>
                  </a:schemeClr>
                </a:solidFill>
              </a:rPr>
              <a:t>по адресу: Курский район, п. М. Жукова, 4-й квартал, д.9</a:t>
            </a:r>
          </a:p>
          <a:p>
            <a:r>
              <a:rPr lang="ru-RU" sz="1600" b="0" u="sng" dirty="0" smtClean="0">
                <a:solidFill>
                  <a:schemeClr val="accent1">
                    <a:lumMod val="50000"/>
                  </a:schemeClr>
                </a:solidFill>
              </a:rPr>
              <a:t>ОПС 305514 </a:t>
            </a:r>
            <a:r>
              <a:rPr lang="ru-RU" sz="1600" b="0" u="sng" dirty="0" err="1" smtClean="0">
                <a:solidFill>
                  <a:schemeClr val="accent1">
                    <a:lumMod val="50000"/>
                  </a:schemeClr>
                </a:solidFill>
              </a:rPr>
              <a:t>Сапогово</a:t>
            </a:r>
            <a:r>
              <a:rPr lang="ru-RU" sz="1600" b="0" u="sng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sz="1600" b="0" dirty="0" smtClean="0">
                <a:solidFill>
                  <a:schemeClr val="accent1">
                    <a:lumMod val="50000"/>
                  </a:schemeClr>
                </a:solidFill>
              </a:rPr>
              <a:t>по адресу: Курский район, п. Искра</a:t>
            </a:r>
          </a:p>
          <a:p>
            <a:r>
              <a:rPr lang="ru-RU" sz="1600" b="0" u="sng" dirty="0" smtClean="0">
                <a:solidFill>
                  <a:schemeClr val="accent1">
                    <a:lumMod val="50000"/>
                  </a:schemeClr>
                </a:solidFill>
              </a:rPr>
              <a:t>ОПС 305520 </a:t>
            </a:r>
            <a:r>
              <a:rPr lang="ru-RU" sz="1600" b="0" u="sng" dirty="0" err="1" smtClean="0">
                <a:solidFill>
                  <a:schemeClr val="accent1">
                    <a:lumMod val="50000"/>
                  </a:schemeClr>
                </a:solidFill>
              </a:rPr>
              <a:t>Моква</a:t>
            </a:r>
            <a:r>
              <a:rPr lang="ru-RU" sz="1600" b="0" u="sng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sz="1600" b="0" dirty="0" smtClean="0">
                <a:solidFill>
                  <a:schemeClr val="accent1">
                    <a:lumMod val="50000"/>
                  </a:schemeClr>
                </a:solidFill>
              </a:rPr>
              <a:t>по адресу: Курский район, д. 1-я </a:t>
            </a:r>
            <a:r>
              <a:rPr lang="ru-RU" sz="1600" b="0" dirty="0" err="1" smtClean="0">
                <a:solidFill>
                  <a:schemeClr val="accent1">
                    <a:lumMod val="50000"/>
                  </a:schemeClr>
                </a:solidFill>
              </a:rPr>
              <a:t>Моква</a:t>
            </a:r>
            <a:endParaRPr lang="ru-RU" b="0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41337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7CCD23E-997B-4E57-B2D9-5E2603462AC4}" type="slidenum">
              <a:rPr lang="ru-RU" smtClean="0"/>
              <a:pPr/>
              <a:t>2</a:t>
            </a:fld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704410" y="296801"/>
            <a:ext cx="6980500" cy="506314"/>
          </a:xfrm>
        </p:spPr>
        <p:txBody>
          <a:bodyPr/>
          <a:lstStyle/>
          <a:p>
            <a:r>
              <a:rPr lang="ru-RU" dirty="0">
                <a:solidFill>
                  <a:srgbClr val="0070C0"/>
                </a:solidFill>
              </a:rPr>
              <a:t>Как оформить Пушкинскую карту</a:t>
            </a:r>
          </a:p>
        </p:txBody>
      </p:sp>
      <p:sp>
        <p:nvSpPr>
          <p:cNvPr id="5" name="Заголовок 2"/>
          <p:cNvSpPr txBox="1">
            <a:spLocks/>
          </p:cNvSpPr>
          <p:nvPr/>
        </p:nvSpPr>
        <p:spPr>
          <a:xfrm>
            <a:off x="632400" y="1196690"/>
            <a:ext cx="9001250" cy="547276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220432" rtl="0" eaLnBrk="1" latinLnBrk="0" hangingPunct="1">
              <a:spcBef>
                <a:spcPct val="0"/>
              </a:spcBef>
              <a:buNone/>
              <a:defRPr sz="2012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. Зарегистрируйтесь 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а </a:t>
            </a:r>
            <a:r>
              <a:rPr lang="ru-RU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Госуслугах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и подтвердите учётную запись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r>
              <a:rPr lang="ru-RU" sz="14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r>
              <a:rPr lang="ru-RU" sz="1400" b="0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то можно сделать с 14 лет, после получения </a:t>
            </a:r>
            <a:r>
              <a:rPr lang="ru-RU" sz="1400" b="0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аспорта в ОПС по Макропрограмме.</a:t>
            </a:r>
          </a:p>
          <a:p>
            <a:endParaRPr lang="ru-RU" sz="1400" b="0" dirty="0" smtClean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. Установите 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обильное приложение «</a:t>
            </a:r>
            <a:r>
              <a:rPr lang="ru-RU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Госуслуги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Культура».</a:t>
            </a:r>
            <a:r>
              <a:rPr lang="ru-RU" sz="14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ru-RU" sz="1400" b="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400" b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но </a:t>
            </a:r>
            <a:r>
              <a:rPr lang="ru-RU" sz="14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оступно в </a:t>
            </a:r>
            <a:r>
              <a:rPr lang="ru-RU" sz="1400" b="0" dirty="0" err="1">
                <a:latin typeface="Times New Roman" panose="02020603050405020304" pitchFamily="18" charset="0"/>
                <a:cs typeface="Times New Roman" panose="02020603050405020304" pitchFamily="18" charset="0"/>
                <a:hlinkClick r:id="rId2"/>
              </a:rPr>
              <a:t>AppStore</a:t>
            </a:r>
            <a:r>
              <a:rPr lang="ru-RU" sz="14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 </a:t>
            </a:r>
            <a:r>
              <a:rPr lang="ru-RU" sz="1400" b="0" dirty="0" err="1">
                <a:latin typeface="Times New Roman" panose="02020603050405020304" pitchFamily="18" charset="0"/>
                <a:cs typeface="Times New Roman" panose="02020603050405020304" pitchFamily="18" charset="0"/>
                <a:hlinkClick r:id="rId3"/>
              </a:rPr>
              <a:t>Google</a:t>
            </a:r>
            <a:r>
              <a:rPr lang="ru-RU" sz="1400" b="0" dirty="0">
                <a:latin typeface="Times New Roman" panose="02020603050405020304" pitchFamily="18" charset="0"/>
                <a:cs typeface="Times New Roman" panose="02020603050405020304" pitchFamily="18" charset="0"/>
                <a:hlinkClick r:id="rId3"/>
              </a:rPr>
              <a:t> </a:t>
            </a:r>
            <a:r>
              <a:rPr lang="ru-RU" sz="1400" b="0" dirty="0" err="1">
                <a:latin typeface="Times New Roman" panose="02020603050405020304" pitchFamily="18" charset="0"/>
                <a:cs typeface="Times New Roman" panose="02020603050405020304" pitchFamily="18" charset="0"/>
                <a:hlinkClick r:id="rId3"/>
              </a:rPr>
              <a:t>Play</a:t>
            </a:r>
            <a:r>
              <a:rPr lang="ru-RU" sz="14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 и</a:t>
            </a:r>
            <a:r>
              <a:rPr lang="ru-RU" sz="1400" b="0" dirty="0">
                <a:latin typeface="Times New Roman" panose="02020603050405020304" pitchFamily="18" charset="0"/>
                <a:cs typeface="Times New Roman" panose="02020603050405020304" pitchFamily="18" charset="0"/>
                <a:hlinkClick r:id="rId4"/>
              </a:rPr>
              <a:t> </a:t>
            </a:r>
            <a:r>
              <a:rPr lang="ru-RU" sz="1400" b="0" dirty="0" err="1">
                <a:latin typeface="Times New Roman" panose="02020603050405020304" pitchFamily="18" charset="0"/>
                <a:cs typeface="Times New Roman" panose="02020603050405020304" pitchFamily="18" charset="0"/>
                <a:hlinkClick r:id="rId4"/>
              </a:rPr>
              <a:t>AppGallery</a:t>
            </a:r>
            <a:r>
              <a:rPr lang="ru-RU" sz="14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 QR-код для скачивания приложения размещён </a:t>
            </a:r>
            <a:r>
              <a:rPr lang="ru-RU" sz="1400" b="0" dirty="0">
                <a:latin typeface="Times New Roman" panose="02020603050405020304" pitchFamily="18" charset="0"/>
                <a:cs typeface="Times New Roman" panose="02020603050405020304" pitchFamily="18" charset="0"/>
                <a:hlinkClick r:id="rId5"/>
              </a:rPr>
              <a:t>на </a:t>
            </a:r>
            <a:r>
              <a:rPr lang="ru-RU" sz="1400" b="0" dirty="0" err="1" smtClean="0">
                <a:latin typeface="Times New Roman" panose="02020603050405020304" pitchFamily="18" charset="0"/>
                <a:cs typeface="Times New Roman" panose="02020603050405020304" pitchFamily="18" charset="0"/>
                <a:hlinkClick r:id="rId5"/>
              </a:rPr>
              <a:t>Госуслугах</a:t>
            </a:r>
            <a:r>
              <a:rPr lang="ru-RU" sz="1400" b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(</a:t>
            </a:r>
            <a:r>
              <a:rPr lang="en-US" sz="1400" b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www.gosuslugi.ru</a:t>
            </a:r>
            <a:r>
              <a:rPr lang="ru-RU" sz="1400" b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</a:p>
          <a:p>
            <a:endParaRPr lang="ru-RU" sz="1400" b="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3. Подтвердите 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ыпуск Пушкинской карты.</a:t>
            </a:r>
            <a:r>
              <a:rPr lang="ru-RU" sz="14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 Вы можете оформить виртуальную карту «Мир» прямо в приложении или получить пластиковую карту </a:t>
            </a:r>
            <a:r>
              <a:rPr lang="ru-RU" sz="1400" b="0" dirty="0">
                <a:latin typeface="Times New Roman" panose="02020603050405020304" pitchFamily="18" charset="0"/>
                <a:cs typeface="Times New Roman" panose="02020603050405020304" pitchFamily="18" charset="0"/>
                <a:hlinkClick r:id="rId6"/>
              </a:rPr>
              <a:t>в отделении Почта Банка</a:t>
            </a:r>
            <a:r>
              <a:rPr lang="ru-RU" sz="14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предъявив паспорт и </a:t>
            </a:r>
            <a:r>
              <a:rPr lang="ru-RU" sz="1400" b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НИЛС</a:t>
            </a:r>
          </a:p>
          <a:p>
            <a:endParaRPr lang="ru-RU" sz="1400" b="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4. </a:t>
            </a:r>
            <a:r>
              <a:rPr lang="ru-RU" sz="1400" b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ыберите </a:t>
            </a:r>
            <a:r>
              <a:rPr lang="ru-RU" sz="14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ероприятие из афиши в приложении или на сайте  «</a:t>
            </a:r>
            <a:r>
              <a:rPr lang="ru-RU" sz="1400" b="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Культура.РФ</a:t>
            </a:r>
            <a:r>
              <a:rPr lang="ru-RU" sz="14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» и оплатите билет картой. При покупке билетов на сайте самой культурной организации или через кассу убедитесь, что организация участвует в программе. При покупке на сайте ищите кнопку «Оплатить Пушкинской картой»</a:t>
            </a:r>
          </a:p>
          <a:p>
            <a:pPr marL="457200" indent="-457200">
              <a:buFontTx/>
              <a:buAutoNum type="arabicPeriod"/>
            </a:pPr>
            <a:endParaRPr lang="ru-RU" b="0" dirty="0"/>
          </a:p>
          <a:p>
            <a:pPr marL="457200" indent="-457200">
              <a:buAutoNum type="arabicPeriod"/>
            </a:pPr>
            <a:endParaRPr lang="ru-RU" b="0" dirty="0" smtClean="0"/>
          </a:p>
          <a:p>
            <a:pPr marL="457200" indent="-457200">
              <a:buAutoNum type="arabicPeriod"/>
            </a:pPr>
            <a:endParaRPr lang="ru-RU" b="0" dirty="0"/>
          </a:p>
          <a:p>
            <a:pPr marL="457200" indent="-457200">
              <a:buAutoNum type="arabicPeriod"/>
            </a:pPr>
            <a:endParaRPr lang="ru-RU" b="0" dirty="0" smtClean="0"/>
          </a:p>
          <a:p>
            <a:pPr marL="457200" indent="-457200">
              <a:buAutoNum type="arabicPeriod"/>
            </a:pPr>
            <a:endParaRPr lang="ru-RU" b="0" dirty="0"/>
          </a:p>
          <a:p>
            <a:pPr marL="457200" indent="-457200">
              <a:buAutoNum type="arabicPeriod"/>
            </a:pPr>
            <a:endParaRPr lang="ru-RU" b="0" dirty="0" smtClean="0"/>
          </a:p>
          <a:p>
            <a:pPr marL="457200" indent="-457200">
              <a:buAutoNum type="arabicPeriod"/>
            </a:pPr>
            <a:endParaRPr lang="ru-RU" b="0" dirty="0"/>
          </a:p>
          <a:p>
            <a:r>
              <a:rPr lang="ru-RU" sz="1000" dirty="0" smtClean="0"/>
              <a:t>«</a:t>
            </a:r>
            <a:r>
              <a:rPr lang="ru-RU" sz="1000" dirty="0"/>
              <a:t>Пушкинская карта» – это проект для молодежи от 14 до 22 лет. Лимит в 5 000 рублей можно использовать, чтобы купить билеты в музеи, театры, на выставки, экскурсии, мастер-классы и даже в </a:t>
            </a:r>
            <a:r>
              <a:rPr lang="ru-RU" sz="1000" dirty="0" smtClean="0"/>
              <a:t>кино. Воспользоваться можно по всей России.</a:t>
            </a:r>
            <a:endParaRPr lang="ru-RU" sz="1000" dirty="0"/>
          </a:p>
        </p:txBody>
      </p:sp>
      <p:pic>
        <p:nvPicPr>
          <p:cNvPr id="2050" name="Picture 2" descr="https://gu-st.ru/landings-st/assets/svg/culture/girl_1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5410" y="4149100"/>
            <a:ext cx="1371678" cy="14211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987954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81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&quot;&gt;&lt;elem m_fUsage=&quot;1.00000000000000000000E+00&quot;&gt;&lt;m_msothmcolidx val=&quot;0&quot;/&gt;&lt;m_rgb r=&quot;7F&quot; g=&quot;7F&quot; b=&quot;7F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Тема Office">
  <a:themeElements>
    <a:clrScheme name="Другая 11">
      <a:dk1>
        <a:srgbClr val="000000"/>
      </a:dk1>
      <a:lt1>
        <a:srgbClr val="FFFFFF"/>
      </a:lt1>
      <a:dk2>
        <a:srgbClr val="355AE4"/>
      </a:dk2>
      <a:lt2>
        <a:srgbClr val="EEECE1"/>
      </a:lt2>
      <a:accent1>
        <a:srgbClr val="355AE4"/>
      </a:accent1>
      <a:accent2>
        <a:srgbClr val="FF5A00"/>
      </a:accent2>
      <a:accent3>
        <a:srgbClr val="E7E7E7"/>
      </a:accent3>
      <a:accent4>
        <a:srgbClr val="A7A7A7"/>
      </a:accent4>
      <a:accent5>
        <a:srgbClr val="FF8200"/>
      </a:accent5>
      <a:accent6>
        <a:srgbClr val="FAAA14"/>
      </a:accent6>
      <a:hlink>
        <a:srgbClr val="0000FF"/>
      </a:hlink>
      <a:folHlink>
        <a:srgbClr val="800080"/>
      </a:folHlink>
    </a:clrScheme>
    <a:fontScheme name="Другая 9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5768</TotalTime>
  <Words>359</Words>
  <Application>Microsoft Office PowerPoint</Application>
  <PresentationFormat>Лист A4 (210x297 мм)</PresentationFormat>
  <Paragraphs>30</Paragraphs>
  <Slides>2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</vt:i4>
      </vt:variant>
    </vt:vector>
  </HeadingPairs>
  <TitlesOfParts>
    <vt:vector size="7" baseType="lpstr">
      <vt:lpstr>Arial</vt:lpstr>
      <vt:lpstr>Calibri</vt:lpstr>
      <vt:lpstr>Times New Roman</vt:lpstr>
      <vt:lpstr>1_Тема Office</vt:lpstr>
      <vt:lpstr>think-cell Slide</vt:lpstr>
      <vt:lpstr>Подтверждение личности это полный доступ ко всем услугам портала Госуслуг Подтверждать личность на портале Госуслуг можно самостоятельно с 14 лет </vt:lpstr>
      <vt:lpstr>Как оформить Пушкинскую карту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Ольга</dc:creator>
  <cp:lastModifiedBy>Байбакова Любовь Вячеславовна</cp:lastModifiedBy>
  <cp:revision>791</cp:revision>
  <cp:lastPrinted>2022-12-06T11:46:20Z</cp:lastPrinted>
  <dcterms:created xsi:type="dcterms:W3CDTF">2021-07-19T08:04:33Z</dcterms:created>
  <dcterms:modified xsi:type="dcterms:W3CDTF">2022-12-06T11:46:28Z</dcterms:modified>
</cp:coreProperties>
</file>